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8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3" r:id="rId4"/>
    <p:sldMasterId id="2147483660" r:id="rId5"/>
    <p:sldMasterId id="2147483674" r:id="rId6"/>
    <p:sldMasterId id="2147483744" r:id="rId7"/>
    <p:sldMasterId id="2147483755" r:id="rId8"/>
    <p:sldMasterId id="2147483792" r:id="rId9"/>
    <p:sldMasterId id="2147483814" r:id="rId10"/>
  </p:sldMasterIdLst>
  <p:notesMasterIdLst>
    <p:notesMasterId r:id="rId16"/>
  </p:notesMasterIdLst>
  <p:sldIdLst>
    <p:sldId id="1511" r:id="rId11"/>
    <p:sldId id="1525" r:id="rId12"/>
    <p:sldId id="1513" r:id="rId13"/>
    <p:sldId id="1512" r:id="rId14"/>
    <p:sldId id="1519" r:id="rId15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a Levy" initials="DL" lastIdx="2" clrIdx="0">
    <p:extLst>
      <p:ext uri="{19B8F6BF-5375-455C-9EA6-DF929625EA0E}">
        <p15:presenceInfo xmlns:p15="http://schemas.microsoft.com/office/powerpoint/2012/main" userId="34aca4116640a3e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1F497D"/>
    <a:srgbClr val="385D8A"/>
    <a:srgbClr val="000000"/>
    <a:srgbClr val="0D0D0D"/>
    <a:srgbClr val="632523"/>
    <a:srgbClr val="7F7F7F"/>
    <a:srgbClr val="953735"/>
    <a:srgbClr val="4F81BD"/>
    <a:srgbClr val="646569"/>
    <a:srgbClr val="002D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07" autoAdjust="0"/>
    <p:restoredTop sz="94588" autoAdjust="0"/>
  </p:normalViewPr>
  <p:slideViewPr>
    <p:cSldViewPr>
      <p:cViewPr varScale="1">
        <p:scale>
          <a:sx n="142" d="100"/>
          <a:sy n="142" d="100"/>
        </p:scale>
        <p:origin x="798" y="12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0" d="100"/>
          <a:sy n="80" d="100"/>
        </p:scale>
        <p:origin x="1998" y="9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10" Type="http://schemas.openxmlformats.org/officeDocument/2006/relationships/slideMaster" Target="slideMasters/slideMaster7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ana\Downloads\LOAD%20FLATTENING%20infographic%20--%2011%20July%20202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ana\Downloads\LOAD%20FLATTENING%20infographic%20--%2011%20July%20202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Dana\Downloads\LOAD%20FLATTENING%20infographic%20--%2011%20July%202021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Household</a:t>
            </a:r>
          </a:p>
        </c:rich>
      </c:tx>
      <c:layout>
        <c:manualLayout>
          <c:xMode val="edge"/>
          <c:yMode val="edge"/>
          <c:x val="0.39895882402945643"/>
          <c:y val="4.36355640154339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2336264796054164E-2"/>
          <c:y val="6.4320615515694485E-2"/>
          <c:w val="0.89655796150481193"/>
          <c:h val="0.72088764946048411"/>
        </c:manualLayout>
      </c:layout>
      <c:lineChart>
        <c:grouping val="stacke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Home!$A$1:$A$24</c:f>
              <c:numCache>
                <c:formatCode>General</c:formatCode>
                <c:ptCount val="2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2</c:v>
                </c:pt>
                <c:pt idx="7">
                  <c:v>3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  <c:pt idx="13">
                  <c:v>1</c:v>
                </c:pt>
                <c:pt idx="14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2</c:v>
                </c:pt>
                <c:pt idx="18">
                  <c:v>3</c:v>
                </c:pt>
                <c:pt idx="19">
                  <c:v>4</c:v>
                </c:pt>
                <c:pt idx="20">
                  <c:v>3</c:v>
                </c:pt>
                <c:pt idx="21">
                  <c:v>2</c:v>
                </c:pt>
                <c:pt idx="22">
                  <c:v>1</c:v>
                </c:pt>
                <c:pt idx="23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672-4E24-9575-6BA6AECF18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2353464"/>
        <c:axId val="292353856"/>
      </c:lineChart>
      <c:catAx>
        <c:axId val="292353464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2353856"/>
        <c:crosses val="autoZero"/>
        <c:auto val="1"/>
        <c:lblAlgn val="ctr"/>
        <c:lblOffset val="100"/>
        <c:noMultiLvlLbl val="0"/>
      </c:catAx>
      <c:valAx>
        <c:axId val="2923538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2353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School</a:t>
            </a:r>
          </a:p>
        </c:rich>
      </c:tx>
      <c:layout>
        <c:manualLayout>
          <c:xMode val="edge"/>
          <c:yMode val="edge"/>
          <c:x val="0.40511347834937445"/>
          <c:y val="1.91589232685123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4209973753280839E-2"/>
          <c:y val="0.1902314814814815"/>
          <c:w val="0.9155301837270341"/>
          <c:h val="0.72088764946048411"/>
        </c:manualLayout>
      </c:layout>
      <c:lineChart>
        <c:grouping val="stacke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School!$A$1:$A$24</c:f>
              <c:numCache>
                <c:formatCode>General</c:formatCode>
                <c:ptCount val="24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3</c:v>
                </c:pt>
                <c:pt idx="9">
                  <c:v>4</c:v>
                </c:pt>
                <c:pt idx="10">
                  <c:v>5</c:v>
                </c:pt>
                <c:pt idx="11">
                  <c:v>6</c:v>
                </c:pt>
                <c:pt idx="12">
                  <c:v>7</c:v>
                </c:pt>
                <c:pt idx="13">
                  <c:v>6</c:v>
                </c:pt>
                <c:pt idx="14">
                  <c:v>5</c:v>
                </c:pt>
                <c:pt idx="15">
                  <c:v>4</c:v>
                </c:pt>
                <c:pt idx="16">
                  <c:v>3</c:v>
                </c:pt>
                <c:pt idx="17">
                  <c:v>2</c:v>
                </c:pt>
                <c:pt idx="18">
                  <c:v>2</c:v>
                </c:pt>
                <c:pt idx="19">
                  <c:v>2</c:v>
                </c:pt>
                <c:pt idx="20">
                  <c:v>2</c:v>
                </c:pt>
                <c:pt idx="21">
                  <c:v>2</c:v>
                </c:pt>
                <c:pt idx="22">
                  <c:v>2</c:v>
                </c:pt>
                <c:pt idx="23">
                  <c:v>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2AA-4585-9813-650B3B336C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1812640"/>
        <c:axId val="291809896"/>
      </c:lineChart>
      <c:catAx>
        <c:axId val="2918126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1809896"/>
        <c:crosses val="autoZero"/>
        <c:auto val="1"/>
        <c:lblAlgn val="ctr"/>
        <c:lblOffset val="100"/>
        <c:noMultiLvlLbl val="0"/>
      </c:catAx>
      <c:valAx>
        <c:axId val="2918098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18126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Aggregated “District”</a:t>
            </a:r>
          </a:p>
        </c:rich>
      </c:tx>
      <c:layout>
        <c:manualLayout>
          <c:xMode val="edge"/>
          <c:yMode val="edge"/>
          <c:x val="0.23177066929133863"/>
          <c:y val="0.106605717136299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District!$C$1:$C$24</c:f>
              <c:numCache>
                <c:formatCode>General</c:formatCode>
                <c:ptCount val="24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4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  <c:pt idx="10">
                  <c:v>6</c:v>
                </c:pt>
                <c:pt idx="11">
                  <c:v>7</c:v>
                </c:pt>
                <c:pt idx="12">
                  <c:v>8</c:v>
                </c:pt>
                <c:pt idx="13">
                  <c:v>7</c:v>
                </c:pt>
                <c:pt idx="14">
                  <c:v>6</c:v>
                </c:pt>
                <c:pt idx="15">
                  <c:v>5</c:v>
                </c:pt>
                <c:pt idx="16">
                  <c:v>4</c:v>
                </c:pt>
                <c:pt idx="17">
                  <c:v>4</c:v>
                </c:pt>
                <c:pt idx="18">
                  <c:v>5</c:v>
                </c:pt>
                <c:pt idx="19">
                  <c:v>6</c:v>
                </c:pt>
                <c:pt idx="20">
                  <c:v>5</c:v>
                </c:pt>
                <c:pt idx="21">
                  <c:v>4</c:v>
                </c:pt>
                <c:pt idx="22">
                  <c:v>3</c:v>
                </c:pt>
                <c:pt idx="23">
                  <c:v>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C75-4ED5-BE70-2AA24AF2B0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91813032"/>
        <c:axId val="293007496"/>
      </c:lineChart>
      <c:catAx>
        <c:axId val="29181303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3007496"/>
        <c:crosses val="autoZero"/>
        <c:auto val="1"/>
        <c:lblAlgn val="ctr"/>
        <c:lblOffset val="100"/>
        <c:noMultiLvlLbl val="0"/>
      </c:catAx>
      <c:valAx>
        <c:axId val="293007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18130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solidFill>
        <a:schemeClr val="tx1"/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2C164A-7038-42D0-953C-2EB4816D4C81}" type="datetimeFigureOut">
              <a:rPr lang="en-US" smtClean="0"/>
              <a:pPr/>
              <a:t>7/28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DA9C80-B631-4EC4-8253-F63CFD0157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33570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4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5.svg"/><Relationship Id="rId4" Type="http://schemas.openxmlformats.org/officeDocument/2006/relationships/image" Target="../media/image24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4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6281346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81577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D47BFF-EB9B-48D5-85DC-0693B2A46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4098049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28517" y="1058401"/>
            <a:ext cx="2577149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30296C7D-4998-43C3-A68E-A9F4AFC7DBB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84313" y="1058401"/>
            <a:ext cx="2592000" cy="1408078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D11B3BD-BF31-4BBD-BF46-6431C9CDC5E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058401"/>
            <a:ext cx="2592000" cy="1408078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44551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65F1B84-9A40-42D8-B3EE-41F4BD7CFE0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1" y="1058467"/>
            <a:ext cx="5435599" cy="1413584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CBA43E0-9E3A-46EC-91D4-D70A0E6EB4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3157312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2000" y="1058400"/>
            <a:ext cx="8280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1411604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113" y="1928812"/>
            <a:ext cx="3923922" cy="415499"/>
          </a:xfrm>
        </p:spPr>
        <p:txBody>
          <a:bodyPr/>
          <a:lstStyle>
            <a:lvl1pPr>
              <a:spcAft>
                <a:spcPts val="0"/>
              </a:spcAft>
              <a:defRPr sz="1350">
                <a:solidFill>
                  <a:schemeClr val="bg1"/>
                </a:solidFill>
              </a:defRPr>
            </a:lvl1pPr>
            <a:lvl2pPr>
              <a:defRPr sz="135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CE6A32C-CD06-49C3-AFB5-EFD7B362214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5156533" y="0"/>
            <a:ext cx="3987469" cy="2495550"/>
          </a:xfrm>
          <a:custGeom>
            <a:avLst/>
            <a:gdLst>
              <a:gd name="connsiteX0" fmla="*/ 0 w 3987469"/>
              <a:gd name="connsiteY0" fmla="*/ 0 h 3327400"/>
              <a:gd name="connsiteX1" fmla="*/ 3987469 w 3987469"/>
              <a:gd name="connsiteY1" fmla="*/ 0 h 3327400"/>
              <a:gd name="connsiteX2" fmla="*/ 3987469 w 3987469"/>
              <a:gd name="connsiteY2" fmla="*/ 2667331 h 3327400"/>
              <a:gd name="connsiteX3" fmla="*/ 3327400 w 3987469"/>
              <a:gd name="connsiteY3" fmla="*/ 3327400 h 3327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87469" h="3327400">
                <a:moveTo>
                  <a:pt x="0" y="0"/>
                </a:moveTo>
                <a:lnTo>
                  <a:pt x="3987469" y="0"/>
                </a:lnTo>
                <a:lnTo>
                  <a:pt x="3987469" y="2667331"/>
                </a:lnTo>
                <a:lnTo>
                  <a:pt x="3327400" y="3327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A6BE9F3D-7630-4ED0-8A55-EF85C1A0D8F4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3003654" y="2647697"/>
            <a:ext cx="6140346" cy="2495804"/>
          </a:xfrm>
          <a:custGeom>
            <a:avLst/>
            <a:gdLst>
              <a:gd name="connsiteX0" fmla="*/ 3327739 w 6140346"/>
              <a:gd name="connsiteY0" fmla="*/ 0 h 3327739"/>
              <a:gd name="connsiteX1" fmla="*/ 6140346 w 6140346"/>
              <a:gd name="connsiteY1" fmla="*/ 2812607 h 3327739"/>
              <a:gd name="connsiteX2" fmla="*/ 6140346 w 6140346"/>
              <a:gd name="connsiteY2" fmla="*/ 3327739 h 3327739"/>
              <a:gd name="connsiteX3" fmla="*/ 0 w 6140346"/>
              <a:gd name="connsiteY3" fmla="*/ 3327739 h 33277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40346" h="3327739">
                <a:moveTo>
                  <a:pt x="3327739" y="0"/>
                </a:moveTo>
                <a:lnTo>
                  <a:pt x="6140346" y="2812607"/>
                </a:lnTo>
                <a:lnTo>
                  <a:pt x="6140346" y="3327739"/>
                </a:lnTo>
                <a:lnTo>
                  <a:pt x="0" y="332773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37" name="Picture Placeholder 12">
            <a:extLst>
              <a:ext uri="{FF2B5EF4-FFF2-40B4-BE49-F238E27FC236}">
                <a16:creationId xmlns:a16="http://schemas.microsoft.com/office/drawing/2014/main" id="{249160C1-B1F7-49FF-8654-DF16DE47AF08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6438695" y="1839210"/>
            <a:ext cx="1947600" cy="14607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050"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2A5F86E-6E6F-45E1-A5F2-EB1037420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114" y="1062985"/>
            <a:ext cx="3952500" cy="276999"/>
          </a:xfrm>
        </p:spPr>
        <p:txBody>
          <a:bodyPr/>
          <a:lstStyle>
            <a:lvl1pPr>
              <a:lnSpc>
                <a:spcPct val="8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35" name="Group 34"/>
          <p:cNvGrpSpPr/>
          <p:nvPr userDrawn="1"/>
        </p:nvGrpSpPr>
        <p:grpSpPr>
          <a:xfrm>
            <a:off x="426571" y="4600220"/>
            <a:ext cx="1905000" cy="301139"/>
            <a:chOff x="2910342" y="325575"/>
            <a:chExt cx="5928968" cy="1249653"/>
          </a:xfrm>
        </p:grpSpPr>
        <p:sp>
          <p:nvSpPr>
            <p:cNvPr id="36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8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9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2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3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4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6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7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8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9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50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51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52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53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54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55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56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57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58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28762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 bwMode="auto">
          <a:xfrm>
            <a:off x="0" y="-1"/>
            <a:ext cx="9177556" cy="518795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76" tIns="34289" rIns="68576" bIns="34289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ts val="338"/>
              </a:spcAft>
              <a:buClr>
                <a:srgbClr val="55555A"/>
              </a:buClr>
            </a:pPr>
            <a:endParaRPr lang="en-US" sz="1350" b="1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343858" y="4764041"/>
            <a:ext cx="6547605" cy="126958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tabLst>
                <a:tab pos="741760" algn="l"/>
              </a:tabLst>
            </a:pPr>
            <a:r>
              <a:rPr lang="en-US" b="1" kern="0" dirty="0">
                <a:solidFill>
                  <a:srgbClr val="00148C"/>
                </a:solidFill>
              </a:rPr>
              <a:t>| January GRM | January 22, 2020</a:t>
            </a:r>
            <a:endParaRPr lang="fr-FR" b="1" kern="0" dirty="0">
              <a:solidFill>
                <a:srgbClr val="00148C"/>
              </a:solidFill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9991" y="1093553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6572" y="2600550"/>
            <a:ext cx="4033839" cy="39241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rot="16200000" flipV="1">
            <a:off x="4764048" y="135422"/>
            <a:ext cx="4548930" cy="4278086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426571" y="4600220"/>
            <a:ext cx="1905000" cy="301139"/>
            <a:chOff x="2910342" y="325575"/>
            <a:chExt cx="5928968" cy="1249653"/>
          </a:xfrm>
        </p:grpSpPr>
        <p:sp>
          <p:nvSpPr>
            <p:cNvPr id="8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9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0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1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2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3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4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5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6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7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8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9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0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1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2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3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4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5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6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6284328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76" tIns="34289" rIns="68576" bIns="34289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ts val="338"/>
              </a:spcAft>
              <a:buClr>
                <a:srgbClr val="55555A"/>
              </a:buClr>
            </a:pPr>
            <a:endParaRPr lang="en-US" sz="1350" b="1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698" y="1058865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6572" y="2600550"/>
            <a:ext cx="4033839" cy="392415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2818702" y="1700675"/>
            <a:ext cx="6316910" cy="3455410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426571" y="4600220"/>
            <a:ext cx="1905000" cy="301139"/>
            <a:chOff x="2910342" y="325575"/>
            <a:chExt cx="5928968" cy="1249653"/>
          </a:xfrm>
        </p:grpSpPr>
        <p:sp>
          <p:nvSpPr>
            <p:cNvPr id="9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0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1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2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3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4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5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6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7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8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9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0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1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2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3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4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5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6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7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352478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831" y="2283210"/>
            <a:ext cx="3941783" cy="577081"/>
          </a:xfrm>
        </p:spPr>
        <p:txBody>
          <a:bodyPr/>
          <a:lstStyle>
            <a:lvl1pPr>
              <a:spcAft>
                <a:spcPts val="0"/>
              </a:spcAft>
              <a:defRPr lang="en-US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35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2731" y="789396"/>
            <a:ext cx="2598742" cy="1327286"/>
          </a:xfrm>
        </p:spPr>
        <p:txBody>
          <a:bodyPr anchor="b" anchorCtr="0"/>
          <a:lstStyle>
            <a:lvl1pPr>
              <a:defRPr sz="862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#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09CC1F6E-8547-404B-8A3D-7CD83974A0B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052700" y="4776"/>
            <a:ext cx="5091300" cy="5138724"/>
          </a:xfrm>
          <a:custGeom>
            <a:avLst/>
            <a:gdLst>
              <a:gd name="connsiteX0" fmla="*/ 2375514 w 5091300"/>
              <a:gd name="connsiteY0" fmla="*/ 0 h 6851632"/>
              <a:gd name="connsiteX1" fmla="*/ 5091300 w 5091300"/>
              <a:gd name="connsiteY1" fmla="*/ 0 h 6851632"/>
              <a:gd name="connsiteX2" fmla="*/ 5091300 w 5091300"/>
              <a:gd name="connsiteY2" fmla="*/ 6851632 h 6851632"/>
              <a:gd name="connsiteX3" fmla="*/ 4476116 w 5091300"/>
              <a:gd name="connsiteY3" fmla="*/ 6851632 h 6851632"/>
              <a:gd name="connsiteX4" fmla="*/ 0 w 5091300"/>
              <a:gd name="connsiteY4" fmla="*/ 2375516 h 6851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91300" h="6851632">
                <a:moveTo>
                  <a:pt x="2375514" y="0"/>
                </a:moveTo>
                <a:lnTo>
                  <a:pt x="5091300" y="0"/>
                </a:lnTo>
                <a:lnTo>
                  <a:pt x="5091300" y="6851632"/>
                </a:lnTo>
                <a:lnTo>
                  <a:pt x="4476116" y="6851632"/>
                </a:lnTo>
                <a:lnTo>
                  <a:pt x="0" y="23755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en-US" dirty="0"/>
              <a:t> </a:t>
            </a:r>
            <a:endParaRPr lang="en-GB" dirty="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426571" y="4600220"/>
            <a:ext cx="1905000" cy="301139"/>
            <a:chOff x="2910342" y="325575"/>
            <a:chExt cx="5928968" cy="1249653"/>
          </a:xfrm>
        </p:grpSpPr>
        <p:sp>
          <p:nvSpPr>
            <p:cNvPr id="27" name="Freeform: Shape 26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8" name="Freeform: Shape 2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9" name="Freeform: Shape 2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0" name="Freeform: Shape 29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1" name="Freeform: Shape 30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3" name="Freeform: Shape 32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4" name="Freeform: Shape 3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5" name="Freeform: Shape 34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6" name="Freeform: Shape 35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7" name="Freeform: Shape 36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59" name="Freeform: Shape 58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60" name="Freeform: Shape 59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61" name="Freeform: Shape 6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62" name="Freeform: Shape 61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63" name="Freeform: Shape 62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64" name="Freeform: Shape 6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65" name="Freeform: Shape 64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66" name="Freeform: Shape 65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67" name="Freeform: Shape 66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155044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/>
          <p:cNvSpPr/>
          <p:nvPr userDrawn="1"/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76" tIns="34289" rIns="68576" bIns="34289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ts val="338"/>
              </a:spcAft>
              <a:buClr>
                <a:srgbClr val="55555A"/>
              </a:buClr>
            </a:pPr>
            <a:endParaRPr lang="en-US" sz="1350" b="1" kern="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0001" y="2536530"/>
            <a:ext cx="2524125" cy="577081"/>
          </a:xfrm>
        </p:spPr>
        <p:txBody>
          <a:bodyPr/>
          <a:lstStyle>
            <a:lvl1pPr>
              <a:spcAft>
                <a:spcPts val="0"/>
              </a:spcAft>
              <a:defRPr lang="en-US" sz="24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35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6480" y="1122771"/>
            <a:ext cx="2598742" cy="1327286"/>
          </a:xfrm>
        </p:spPr>
        <p:txBody>
          <a:bodyPr anchor="b" anchorCtr="0"/>
          <a:lstStyle>
            <a:lvl1pPr>
              <a:defRPr sz="862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426571" y="4600220"/>
            <a:ext cx="1905000" cy="301139"/>
            <a:chOff x="2910342" y="325575"/>
            <a:chExt cx="5928968" cy="1249653"/>
          </a:xfrm>
        </p:grpSpPr>
        <p:sp>
          <p:nvSpPr>
            <p:cNvPr id="7" name="Freeform: Shape 35"/>
            <p:cNvSpPr/>
            <p:nvPr/>
          </p:nvSpPr>
          <p:spPr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8" name="Freeform: Shape 37"/>
            <p:cNvSpPr/>
            <p:nvPr/>
          </p:nvSpPr>
          <p:spPr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9" name="Freeform: Shape 38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0" name="Freeform: Shape 41"/>
            <p:cNvSpPr/>
            <p:nvPr/>
          </p:nvSpPr>
          <p:spPr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1" name="Freeform: Shape 42"/>
            <p:cNvSpPr/>
            <p:nvPr/>
          </p:nvSpPr>
          <p:spPr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2" name="Freeform: Shape 43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3" name="Freeform: Shape 45"/>
            <p:cNvSpPr/>
            <p:nvPr/>
          </p:nvSpPr>
          <p:spPr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4" name="Freeform: Shape 46"/>
            <p:cNvSpPr/>
            <p:nvPr/>
          </p:nvSpPr>
          <p:spPr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5" name="Freeform: Shape 47"/>
            <p:cNvSpPr/>
            <p:nvPr/>
          </p:nvSpPr>
          <p:spPr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6" name="Freeform: Shape 48"/>
            <p:cNvSpPr/>
            <p:nvPr/>
          </p:nvSpPr>
          <p:spPr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7" name="Freeform: Shape 49"/>
            <p:cNvSpPr/>
            <p:nvPr/>
          </p:nvSpPr>
          <p:spPr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8" name="Freeform: Shape 50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9" name="Freeform: Shape 51"/>
            <p:cNvSpPr/>
            <p:nvPr/>
          </p:nvSpPr>
          <p:spPr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0" name="Freeform: Shape 52"/>
            <p:cNvSpPr/>
            <p:nvPr/>
          </p:nvSpPr>
          <p:spPr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1" name="Freeform: Shape 53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2" name="Freeform: Shape 54"/>
            <p:cNvSpPr/>
            <p:nvPr/>
          </p:nvSpPr>
          <p:spPr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3" name="Freeform: Shape 55"/>
            <p:cNvSpPr/>
            <p:nvPr/>
          </p:nvSpPr>
          <p:spPr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4" name="Freeform: Shape 56"/>
            <p:cNvSpPr/>
            <p:nvPr/>
          </p:nvSpPr>
          <p:spPr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5" name="Freeform: Shape 57"/>
            <p:cNvSpPr/>
            <p:nvPr/>
          </p:nvSpPr>
          <p:spPr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</p:grpSp>
      <p:pic>
        <p:nvPicPr>
          <p:cNvPr id="26" name="Picture 25"/>
          <p:cNvPicPr>
            <a:picLocks noChangeAspect="1"/>
          </p:cNvPicPr>
          <p:nvPr userDrawn="1"/>
        </p:nvPicPr>
        <p:blipFill rotWithShape="1">
          <a:blip r:embed="rId2"/>
          <a:srcRect r="23305" b="53486"/>
          <a:stretch/>
        </p:blipFill>
        <p:spPr>
          <a:xfrm>
            <a:off x="3440530" y="2384571"/>
            <a:ext cx="5703470" cy="2758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31027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tio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96277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2091BDE-8D32-45BA-8B05-DD4216B1638A}"/>
              </a:ext>
            </a:extLst>
          </p:cNvPr>
          <p:cNvGrpSpPr/>
          <p:nvPr userDrawn="1"/>
        </p:nvGrpSpPr>
        <p:grpSpPr bwMode="black">
          <a:xfrm>
            <a:off x="2105025" y="2181776"/>
            <a:ext cx="4933950" cy="779949"/>
            <a:chOff x="2910342" y="325575"/>
            <a:chExt cx="5928968" cy="1249653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57378A6-C5A9-4A2C-B31B-EA15D5A0FE13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AE02F4F1-BC64-4B71-9E4E-AFA3BA5D9284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17A2B2C-D6F2-4479-9425-86B568230B87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2011773E-597C-481D-B648-114EC7522986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D28185BD-C34B-4E50-90A0-42A4AABFD6F8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469029C-5A60-4376-BC7D-F118160FFE0E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F08901CA-EBBA-48C9-A455-39FED58F1C74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3D44C5A-5300-472D-9CB9-D76132F9DEE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D3A8FA55-DAA9-461E-9FED-A9A1B659EA7A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4610353-9575-4653-839D-B8325BE73337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B21885C5-7DDB-4A16-922D-087FA03AE3A9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0B5B5E7-4134-45F5-B9B2-F95F687266C2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831FF1B-C914-46E6-BBAB-45FCEF2DDEC6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64338027-A927-4C3D-AF95-4646D340421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704EA4F8-DD37-473D-9F06-72E6DF74F66B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96486B9F-0ACD-42EC-8AD3-D7C9EE2BF62A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A96A062-93F0-4915-9B7C-6CB09526FC4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6F5C7FBC-AB52-40CB-921A-5ACB3377FDD1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81DC520-5E27-419C-8EC0-F520CA9211F2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350" b="1" kern="0" dirty="0">
                <a:solidFill>
                  <a:srgbClr val="00148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559497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988964" algn="l"/>
              </a:tabLst>
            </a:pPr>
            <a:r>
              <a:rPr lang="en-US" dirty="0">
                <a:solidFill>
                  <a:srgbClr val="00148C"/>
                </a:solidFill>
              </a:rPr>
              <a:t>| January GRM | January 22, 2020</a:t>
            </a:r>
            <a:endParaRPr lang="fr-FR" dirty="0">
              <a:solidFill>
                <a:srgbClr val="00148C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171251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27765" y="1062040"/>
            <a:ext cx="2577149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02" y="1062501"/>
            <a:ext cx="2592239" cy="2154244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76600" y="1062501"/>
            <a:ext cx="2592000" cy="2154244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40" y="4740426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988964" algn="l"/>
              </a:tabLst>
            </a:pPr>
            <a:r>
              <a:rPr lang="en-US" dirty="0">
                <a:solidFill>
                  <a:srgbClr val="00148C"/>
                </a:solidFill>
              </a:rPr>
              <a:t>| January GRM | January 22, 2020</a:t>
            </a:r>
            <a:endParaRPr lang="fr-FR" dirty="0">
              <a:solidFill>
                <a:srgbClr val="00148C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 defTabSz="914355">
                <a:defRPr/>
              </a:pPr>
              <a:r>
                <a:rPr lang="en-GB" sz="600" b="1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55"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55">
                <a:defRPr/>
              </a:pPr>
              <a:r>
                <a:rPr lang="en-GB" sz="600" b="1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55">
                <a:defRPr/>
              </a:pPr>
              <a:endPara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722" lvl="2" defTabSz="914355">
                <a:defRPr/>
              </a:pPr>
              <a:endPara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722" lvl="2" defTabSz="914355">
                <a:defRPr/>
              </a:pPr>
              <a:endPara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722" lvl="2" defTabSz="914355">
                <a:defRPr/>
              </a:pPr>
              <a:endPara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 defTabSz="914355"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55">
                <a:defRPr/>
              </a:pPr>
              <a:r>
                <a:rPr lang="en-GB" sz="600" b="1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55">
                  <a:spcAft>
                    <a:spcPts val="273"/>
                  </a:spcAft>
                  <a:defRPr/>
                </a:pPr>
                <a:endParaRPr lang="en-GB" sz="6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9206427" y="2140328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 defTabSz="914355">
              <a:buFont typeface="Arial" panose="020B0604020202020204" pitchFamily="34" charset="0"/>
              <a:buNone/>
              <a:defRPr/>
            </a:pPr>
            <a:r>
              <a:rPr lang="en-US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</a:t>
            </a: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pdating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430005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988964" algn="l"/>
              </a:tabLst>
            </a:pPr>
            <a:r>
              <a:rPr lang="en-US" dirty="0">
                <a:solidFill>
                  <a:srgbClr val="00148C"/>
                </a:solidFill>
              </a:rPr>
              <a:t>| January GRM | January 22, 2020</a:t>
            </a:r>
            <a:endParaRPr lang="fr-FR" dirty="0">
              <a:solidFill>
                <a:srgbClr val="00148C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2781" y="1068389"/>
            <a:ext cx="5544621" cy="18772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9206425" y="0"/>
            <a:ext cx="2029736" cy="2104028"/>
            <a:chOff x="3528102" y="847657"/>
            <a:chExt cx="2029736" cy="210402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lvl="2" defTabSz="914355">
                <a:defRPr/>
              </a:pPr>
              <a:r>
                <a:rPr lang="en-GB" sz="600" b="1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eapplying the Slide Layout</a:t>
              </a:r>
            </a:p>
            <a:p>
              <a:pPr marL="0" lvl="2" defTabSz="914355"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Right click on the page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on ‘Layout’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elect the layout you require</a:t>
              </a:r>
            </a:p>
            <a:p>
              <a:pPr marL="0" lvl="2" defTabSz="914355">
                <a:defRPr/>
              </a:pPr>
              <a:r>
                <a:rPr lang="en-GB" sz="600" b="1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ext bullet formatting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lvl="2" defTabSz="914355">
                <a:defRPr/>
              </a:pPr>
              <a:endPara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722" lvl="2" defTabSz="914355">
                <a:defRPr/>
              </a:pPr>
              <a:endPara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722" lvl="2" defTabSz="914355">
                <a:defRPr/>
              </a:pPr>
              <a:endPara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722" lvl="2" defTabSz="914355">
                <a:defRPr/>
              </a:pPr>
              <a:endPara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endParaRPr>
            </a:p>
            <a:p>
              <a:pPr marL="0" lvl="2" defTabSz="914355"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lvl="2" defTabSz="914355">
                <a:defRPr/>
              </a:pPr>
              <a:r>
                <a:rPr lang="en-GB" sz="600" b="1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Guides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84" lvl="2" indent="-90484" defTabSz="914355">
                <a:buClr>
                  <a:prstClr val="black"/>
                </a:buClr>
                <a:buFont typeface="Arial" panose="020B0604020202020204" pitchFamily="34" charset="0"/>
                <a:buChar char="•"/>
                <a:defRPr/>
              </a:pPr>
              <a:r>
                <a:rPr lang="en-GB" sz="600" dirty="0">
                  <a:solidFill>
                    <a:prstClr val="black"/>
                  </a:solidFill>
                  <a:latin typeface="Calibri" panose="020F0502020204030204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55">
                  <a:spcAft>
                    <a:spcPts val="273"/>
                  </a:spcAft>
                  <a:defRPr/>
                </a:pPr>
                <a:endParaRPr lang="en-GB" sz="600" dirty="0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737813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2"/>
            <a:ext cx="8496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40" y="4740426"/>
            <a:ext cx="7195415" cy="169277"/>
          </a:xfrm>
        </p:spPr>
        <p:txBody>
          <a:bodyPr/>
          <a:lstStyle>
            <a:lvl1pPr>
              <a:defRPr b="0"/>
            </a:lvl1pPr>
          </a:lstStyle>
          <a:p>
            <a:pPr>
              <a:buClr>
                <a:srgbClr val="55555A"/>
              </a:buClr>
              <a:tabLst>
                <a:tab pos="988964" algn="l"/>
              </a:tabLst>
            </a:pPr>
            <a:r>
              <a:rPr lang="en-US" dirty="0">
                <a:solidFill>
                  <a:srgbClr val="00148C"/>
                </a:solidFill>
              </a:rPr>
              <a:t>| January GRM | January 22, 2020</a:t>
            </a:r>
            <a:endParaRPr lang="fr-FR" dirty="0">
              <a:solidFill>
                <a:srgbClr val="00148C"/>
              </a:solidFill>
            </a:endParaRP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9206425" y="2"/>
            <a:ext cx="2029736" cy="996033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6000" tIns="36000" rIns="36000" bIns="36000" rtlCol="0" anchor="t" anchorCtr="0">
            <a:spAutoFit/>
          </a:bodyPr>
          <a:lstStyle/>
          <a:p>
            <a:pPr marL="0" lvl="2" defTabSz="914355"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nsert a chart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rmat the chart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the chart title text box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source and notes</a:t>
            </a:r>
          </a:p>
          <a:p>
            <a:pPr marL="0" lvl="2" defTabSz="914355">
              <a:buClr>
                <a:srgbClr val="4472C4"/>
              </a:buClr>
              <a:buFont typeface="Arial" panose="020B0604020202020204" pitchFamily="34" charset="0"/>
              <a:buNone/>
              <a:defRPr/>
            </a:pPr>
            <a:r>
              <a:rPr lang="en-US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pdate existing chart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existing chart and delet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steps for inserting a chart above</a:t>
            </a:r>
            <a:endParaRPr lang="en-GB" sz="600" dirty="0">
              <a:solidFill>
                <a:prstClr val="black"/>
              </a:solidFill>
              <a:latin typeface="Calibri" panose="020F0502020204030204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189650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2" y="2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7" y="1058865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7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9206427" y="2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 defTabSz="914355">
              <a:buFont typeface="Arial" panose="020B0604020202020204" pitchFamily="34" charset="0"/>
              <a:buNone/>
              <a:defRPr/>
            </a:pPr>
            <a:r>
              <a:rPr lang="en-US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</a:t>
            </a: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pdating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2353939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7" y="1058865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7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2" y="2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7" y="2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 defTabSz="914355">
              <a:buFont typeface="Arial" panose="020B0604020202020204" pitchFamily="34" charset="0"/>
              <a:buNone/>
              <a:defRPr/>
            </a:pPr>
            <a:r>
              <a:rPr lang="en-US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</a:t>
            </a: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pdating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8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43356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7" y="1058865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7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2" y="2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9206427" y="2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 defTabSz="914355">
              <a:buFont typeface="Arial" panose="020B0604020202020204" pitchFamily="34" charset="0"/>
              <a:buNone/>
              <a:defRPr/>
            </a:pPr>
            <a:r>
              <a:rPr lang="en-US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</a:t>
            </a: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pdating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8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49705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7" y="1058865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7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2" y="2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27" y="2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 defTabSz="914355">
              <a:buFont typeface="Arial" panose="020B0604020202020204" pitchFamily="34" charset="0"/>
              <a:buNone/>
              <a:defRPr/>
            </a:pPr>
            <a:r>
              <a:rPr lang="en-US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</a:t>
            </a: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pdating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379" y="255602"/>
            <a:ext cx="1547332" cy="45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739824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197" y="1058865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197" y="2600551"/>
            <a:ext cx="4033839" cy="523172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12" y="2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0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00"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9206427" y="2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 defTabSz="914355">
              <a:buFont typeface="Arial" panose="020B0604020202020204" pitchFamily="34" charset="0"/>
              <a:buNone/>
              <a:defRPr/>
            </a:pPr>
            <a:r>
              <a:rPr lang="en-US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</a:t>
            </a: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pdating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7" y="208024"/>
            <a:ext cx="1153207" cy="514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448696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498520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2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27" y="2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 defTabSz="914355">
              <a:buFont typeface="Arial" panose="020B0604020202020204" pitchFamily="34" charset="0"/>
              <a:buNone/>
              <a:defRPr/>
            </a:pPr>
            <a:r>
              <a:rPr lang="en-US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</a:t>
            </a: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pdating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499534-3473-4E22-AB07-600AA3C32E6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8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920644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2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9206427" y="2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 defTabSz="914355">
              <a:buFont typeface="Arial" panose="020B0604020202020204" pitchFamily="34" charset="0"/>
              <a:buNone/>
              <a:defRPr/>
            </a:pPr>
            <a:r>
              <a:rPr lang="en-US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</a:t>
            </a: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pdating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78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728653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4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496" y="680342"/>
            <a:ext cx="2598742" cy="1769715"/>
          </a:xfrm>
        </p:spPr>
        <p:txBody>
          <a:bodyPr anchor="b" anchorCtr="0"/>
          <a:lstStyle>
            <a:lvl1pPr>
              <a:defRPr sz="11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61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266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27" y="2"/>
            <a:ext cx="2030635" cy="211642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38" tIns="42138" rIns="42138" bIns="42138" rtlCol="0" anchor="t" anchorCtr="0">
            <a:spAutoFit/>
          </a:bodyPr>
          <a:lstStyle/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mage placeholders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‘picture placeholder icon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Navigate to the file and insert</a:t>
            </a:r>
          </a:p>
          <a:p>
            <a:pPr defTabSz="914355">
              <a:buFont typeface="Arial" panose="020B0604020202020204" pitchFamily="34" charset="0"/>
              <a:buNone/>
              <a:defRPr/>
            </a:pPr>
            <a:r>
              <a:rPr lang="en-US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U</a:t>
            </a: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pdating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lick on the image you wish to chan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Delete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US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Follow the steps as above to insert an image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Cropp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the im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Go to ‘Format’ tab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Crop’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You can now move the image within the placeholder.</a:t>
            </a:r>
          </a:p>
          <a:p>
            <a:pPr defTabSz="914355">
              <a:defRPr/>
            </a:pPr>
            <a:r>
              <a:rPr lang="en-GB" sz="600" b="1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esizing image</a:t>
            </a:r>
          </a:p>
          <a:p>
            <a:pPr marL="0" lvl="1" defTabSz="914355"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Right-click on the page</a:t>
            </a:r>
          </a:p>
          <a:p>
            <a:pPr marL="90484" lvl="2" indent="-90484" defTabSz="914355">
              <a:buClr>
                <a:prstClr val="black"/>
              </a:buClr>
              <a:buFont typeface="Arial" panose="020B0604020202020204" pitchFamily="34" charset="0"/>
              <a:buChar char="•"/>
              <a:defRPr/>
            </a:pPr>
            <a:r>
              <a:rPr lang="en-GB" sz="600" dirty="0">
                <a:solidFill>
                  <a:prstClr val="black"/>
                </a:solidFill>
                <a:latin typeface="Calibri" panose="020F0502020204030204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379" y="255602"/>
            <a:ext cx="1547332" cy="45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60534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505647" y="4778377"/>
            <a:ext cx="638355" cy="365125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buClr>
                <a:srgbClr val="55555A"/>
              </a:buClr>
            </a:pPr>
            <a:fld id="{C765D33F-A874-457A-8BB6-233806FE7182}" type="slidenum">
              <a:rPr sz="600">
                <a:solidFill>
                  <a:srgbClr val="55555A"/>
                </a:solidFill>
              </a:rPr>
              <a:pPr>
                <a:buClr>
                  <a:srgbClr val="55555A"/>
                </a:buClr>
              </a:pPr>
              <a:t>‹#›</a:t>
            </a:fld>
            <a:endParaRPr sz="600" dirty="0">
              <a:solidFill>
                <a:srgbClr val="55555A"/>
              </a:solidFill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105025" y="2051785"/>
            <a:ext cx="4933950" cy="1039932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</a:pPr>
              <a:endParaRPr lang="en-GB" sz="1800" b="1" kern="0" dirty="0">
                <a:solidFill>
                  <a:srgbClr val="00148C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1668206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2782" y="1058866"/>
            <a:ext cx="8498440" cy="187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4683919"/>
            <a:ext cx="2133600" cy="357188"/>
          </a:xfrm>
          <a:prstGeom prst="rect">
            <a:avLst/>
          </a:prstGeom>
          <a:ln/>
        </p:spPr>
        <p:txBody>
          <a:bodyPr lIns="68580" tIns="34290" rIns="68580" bIns="34290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defRPr/>
            </a:pPr>
            <a:endParaRPr lang="en-US" b="1" kern="0" dirty="0">
              <a:solidFill>
                <a:srgbClr val="00148C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55555A"/>
              </a:buClr>
              <a:defRPr/>
            </a:pPr>
            <a:r>
              <a:rPr lang="en-US" dirty="0">
                <a:solidFill>
                  <a:srgbClr val="00148C"/>
                </a:solidFill>
              </a:rPr>
              <a:t>| January GRM | January 22, 2020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781800" y="4786314"/>
            <a:ext cx="2133600" cy="271463"/>
          </a:xfrm>
          <a:prstGeom prst="rect">
            <a:avLst/>
          </a:prstGeom>
          <a:ln/>
        </p:spPr>
        <p:txBody>
          <a:bodyPr lIns="68580" tIns="34290" rIns="68580" bIns="34290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defRPr/>
            </a:pPr>
            <a:fld id="{ADEF858B-6703-4C6C-9366-0B90382BB6D4}" type="slidenum">
              <a:rPr lang="en-US" b="1" kern="0" smtClean="0">
                <a:solidFill>
                  <a:srgbClr val="00148C"/>
                </a:solidFill>
              </a:rPr>
              <a:pPr fontAlgn="base">
                <a:spcBef>
                  <a:spcPct val="0"/>
                </a:spcBef>
                <a:spcAft>
                  <a:spcPts val="450"/>
                </a:spcAft>
                <a:buClr>
                  <a:srgbClr val="55555A"/>
                </a:buClr>
                <a:defRPr/>
              </a:pPr>
              <a:t>‹#›</a:t>
            </a:fld>
            <a:endParaRPr lang="en-US" b="1" kern="0" dirty="0">
              <a:solidFill>
                <a:srgbClr val="00148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960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 dir="u"/>
      </p:transition>
    </mc:Choice>
    <mc:Fallback xmlns="">
      <p:transition spd="slow">
        <p:push dir="u"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8799" algn="l"/>
              </a:tabLst>
            </a:pPr>
            <a:r>
              <a:rPr lang="en-US"/>
              <a:t>Policy Board | October 29 2020</a:t>
            </a:r>
            <a:endParaRPr lang="fr-FR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624518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27767" y="1062043"/>
            <a:ext cx="2577149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37" y="1062501"/>
            <a:ext cx="2592239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76600" y="1062501"/>
            <a:ext cx="2592000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40" y="4736579"/>
            <a:ext cx="7195415" cy="173124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8799" algn="l"/>
              </a:tabLst>
            </a:pPr>
            <a:r>
              <a:rPr lang="en-US"/>
              <a:t>Policy Board | October 29 2020</a:t>
            </a:r>
            <a:endParaRPr lang="fr-FR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9206460" y="2"/>
            <a:ext cx="2029736" cy="2104028"/>
            <a:chOff x="3528102" y="847657"/>
            <a:chExt cx="2029736" cy="2104028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70" marR="0" lvl="2" indent="-9047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70" marR="0" lvl="2" indent="-9047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70" marR="0" lvl="2" indent="-9047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</a:t>
              </a: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increase level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</a:t>
              </a: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decrease level</a:t>
              </a: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0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9206463" y="2140333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7629834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8799" algn="l"/>
              </a:tabLst>
            </a:pPr>
            <a:r>
              <a:rPr lang="en-US"/>
              <a:t>Policy Board | October 29 2020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2817" y="1068393"/>
            <a:ext cx="5544621" cy="187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9206460" y="2"/>
            <a:ext cx="2029736" cy="2104028"/>
            <a:chOff x="3528102" y="847657"/>
            <a:chExt cx="2029736" cy="210402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70" marR="0" lvl="2" indent="-9047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70" marR="0" lvl="2" indent="-9047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70" marR="0" lvl="2" indent="-9047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0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29960260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3"/>
            <a:ext cx="8496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40" y="4736579"/>
            <a:ext cx="7195415" cy="173124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8799" algn="l"/>
              </a:tabLst>
            </a:pPr>
            <a:r>
              <a:rPr lang="en-US"/>
              <a:t>Policy Board | October 29 2020</a:t>
            </a:r>
            <a:endParaRPr lang="fr-FR"/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9206460" y="2"/>
            <a:ext cx="2029736" cy="99601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5993" tIns="35993" rIns="35993" bIns="35993" rtlCol="0" anchor="t" anchorCtr="0">
            <a:spAutoFit/>
          </a:bodyPr>
          <a:lstStyle/>
          <a:p>
            <a:pPr marL="0" marR="0" lvl="2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991748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32" y="1058872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2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232" y="2600551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46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1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25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42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78092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9370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87475"/>
            <a:ext cx="8229600" cy="31654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300134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32" y="1058872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2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232" y="2600551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46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1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25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42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783959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32" y="1058872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2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232" y="2600551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46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1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25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379" y="255609"/>
            <a:ext cx="1547332" cy="45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398079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32" y="1058872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2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232" y="2600551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46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1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25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41" y="208025"/>
            <a:ext cx="1153207" cy="514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341719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7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25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531" y="680342"/>
            <a:ext cx="2598742" cy="1769715"/>
          </a:xfrm>
        </p:spPr>
        <p:txBody>
          <a:bodyPr anchor="b" anchorCtr="0"/>
          <a:lstStyle>
            <a:lvl1pPr>
              <a:defRPr sz="114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96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048717564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7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25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531" y="680342"/>
            <a:ext cx="2598742" cy="1769715"/>
          </a:xfrm>
        </p:spPr>
        <p:txBody>
          <a:bodyPr anchor="b" anchorCtr="0"/>
          <a:lstStyle>
            <a:lvl1pPr>
              <a:defRPr sz="114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96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42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5745358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7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25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531" y="680342"/>
            <a:ext cx="2598742" cy="1769715"/>
          </a:xfrm>
        </p:spPr>
        <p:txBody>
          <a:bodyPr anchor="b" anchorCtr="0"/>
          <a:lstStyle>
            <a:lvl1pPr>
              <a:defRPr sz="114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96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379" y="255609"/>
            <a:ext cx="1547332" cy="45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132201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505647" y="4778446"/>
            <a:ext cx="638355" cy="365125"/>
          </a:xfrm>
          <a:prstGeom prst="rect">
            <a:avLst/>
          </a:prstGeom>
        </p:spPr>
        <p:txBody>
          <a:bodyPr lIns="91420" tIns="45710" rIns="91420" bIns="45710"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600" smtClean="0"/>
              <a:pPr/>
              <a:t>‹#›</a:t>
            </a:fld>
            <a:endParaRPr lang="en-GB" sz="6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105060" y="2051785"/>
            <a:ext cx="4933950" cy="1039932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</p:grpSp>
    </p:spTree>
    <p:extLst>
      <p:ext uri="{BB962C8B-B14F-4D97-AF65-F5344CB8AC3E}">
        <p14:creationId xmlns:p14="http://schemas.microsoft.com/office/powerpoint/2010/main" val="239722385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8799" algn="l"/>
              </a:tabLst>
            </a:pPr>
            <a:r>
              <a:rPr lang="en-US"/>
              <a:t>Policy Board | October 29 2020</a:t>
            </a:r>
            <a:endParaRPr lang="fr-FR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2345419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27767" y="1062043"/>
            <a:ext cx="2577149" cy="3454400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4037" y="1062501"/>
            <a:ext cx="2592239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276600" y="1062501"/>
            <a:ext cx="2592000" cy="215443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40" y="4736579"/>
            <a:ext cx="7195415" cy="173124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8799" algn="l"/>
              </a:tabLst>
            </a:pPr>
            <a:r>
              <a:rPr lang="en-US"/>
              <a:t>Policy Board | October 29 2020</a:t>
            </a:r>
            <a:endParaRPr lang="fr-FR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9206460" y="2"/>
            <a:ext cx="2029736" cy="2104028"/>
            <a:chOff x="3528102" y="847657"/>
            <a:chExt cx="2029736" cy="2104028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70" marR="0" lvl="2" indent="-9047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70" marR="0" lvl="2" indent="-9047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70" marR="0" lvl="2" indent="-9047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</a:t>
              </a: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increase level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</a:t>
              </a: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 arrow key = decrease level</a:t>
              </a: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0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9206463" y="2140333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20230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988799" algn="l"/>
              </a:tabLst>
            </a:pPr>
            <a:r>
              <a:rPr lang="en-US"/>
              <a:t>Policy Board | October 29 2020</a:t>
            </a:r>
            <a:endParaRPr lang="fr-F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2817" y="1068393"/>
            <a:ext cx="5544621" cy="18774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9206460" y="2"/>
            <a:ext cx="2029736" cy="2104028"/>
            <a:chOff x="3528102" y="847657"/>
            <a:chExt cx="2029736" cy="2104028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104028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90470" marR="0" lvl="2" indent="-9047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90470" marR="0" lvl="2" indent="-9047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90470" marR="0" lvl="2" indent="-9047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722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91420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90470" marR="0" lvl="2" indent="-90470" algn="l" defTabSz="9142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20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73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974133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93700"/>
            <a:ext cx="8229600" cy="8572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87475"/>
            <a:ext cx="4038600" cy="316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87475"/>
            <a:ext cx="4038600" cy="3165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3597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323850" y="1062503"/>
            <a:ext cx="8496000" cy="345393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234840" y="4736579"/>
            <a:ext cx="7195415" cy="173124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988799" algn="l"/>
              </a:tabLst>
            </a:pPr>
            <a:r>
              <a:rPr lang="en-US"/>
              <a:t>Policy Board | October 29 2020</a:t>
            </a:r>
            <a:endParaRPr lang="fr-FR"/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9206460" y="2"/>
            <a:ext cx="2029736" cy="99601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35993" tIns="35993" rIns="35993" bIns="35993" rtlCol="0" anchor="t" anchorCtr="0">
            <a:spAutoFit/>
          </a:bodyPr>
          <a:lstStyle/>
          <a:p>
            <a:pPr marL="0" marR="0" lvl="2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  <a:endParaRPr kumimoji="0" lang="en-GB" sz="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7258332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A4984479-1823-4BDB-AAA8-6F7D67888FD9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46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8BD2EEFA-8252-4979-8B48-D13EEB8A4E19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1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5" name="Picture Placeholder 12">
            <a:extLst>
              <a:ext uri="{FF2B5EF4-FFF2-40B4-BE49-F238E27FC236}">
                <a16:creationId xmlns:a16="http://schemas.microsoft.com/office/drawing/2014/main" id="{4A49F27C-7E3B-4D20-B431-E1FC318DDF6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25"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32" y="1058872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2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232" y="2600551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0" name="Round Diagonal Corner Rectangle 4">
            <a:extLst>
              <a:ext uri="{FF2B5EF4-FFF2-40B4-BE49-F238E27FC236}">
                <a16:creationId xmlns:a16="http://schemas.microsoft.com/office/drawing/2014/main" id="{16DC8360-D4F7-405A-BF06-04DDCFD5DEFE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763863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32" y="1058872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2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232" y="2600551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46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1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25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743C6D98-1722-4E05-929E-AB343311C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42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092538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32" y="1058872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2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232" y="2600551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46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1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25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6" name="Round Diagonal Corner Rectangle 4">
            <a:extLst>
              <a:ext uri="{FF2B5EF4-FFF2-40B4-BE49-F238E27FC236}">
                <a16:creationId xmlns:a16="http://schemas.microsoft.com/office/drawing/2014/main" id="{A8CD0164-38F9-45E8-BBCE-ACF9D4084AC5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D45BF049-76A9-444A-BE2F-250E5729485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42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129095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32" y="1058872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2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232" y="2600551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46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1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25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C79AD21E-EFC3-431D-86B8-0DD21178CC58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379" y="255609"/>
            <a:ext cx="1547332" cy="45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827604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Capital Deliver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2F8ADC62-EFF7-4CAA-99A2-3F3758E5DE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D855AF4F-E44A-47E4-8B27-D35A23322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32" y="1058872"/>
            <a:ext cx="4033839" cy="868039"/>
          </a:xfrm>
        </p:spPr>
        <p:txBody>
          <a:bodyPr anchor="t" anchorCtr="0"/>
          <a:lstStyle>
            <a:lvl1pPr>
              <a:lnSpc>
                <a:spcPct val="80000"/>
              </a:lnSpc>
              <a:defRPr sz="3225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7A25DF4E-52C6-42FC-9BDC-3C98AF4154A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0232" y="2600551"/>
            <a:ext cx="4033839" cy="523220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sp>
        <p:nvSpPr>
          <p:cNvPr id="12" name="Picture Placeholder 12">
            <a:extLst>
              <a:ext uri="{FF2B5EF4-FFF2-40B4-BE49-F238E27FC236}">
                <a16:creationId xmlns:a16="http://schemas.microsoft.com/office/drawing/2014/main" id="{2E4CC565-EE0C-4E32-8104-7570E7EB2E0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 bwMode="gray">
          <a:xfrm>
            <a:off x="3891646" y="1"/>
            <a:ext cx="4960294" cy="2480147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0 h 5000"/>
              <a:gd name="connsiteX1" fmla="*/ 10000 w 10000"/>
              <a:gd name="connsiteY1" fmla="*/ 0 h 5000"/>
              <a:gd name="connsiteX2" fmla="*/ 5000 w 10000"/>
              <a:gd name="connsiteY2" fmla="*/ 5000 h 5000"/>
              <a:gd name="connsiteX3" fmla="*/ 0 w 10000"/>
              <a:gd name="connsiteY3" fmla="*/ 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0"/>
                </a:moveTo>
                <a:lnTo>
                  <a:pt x="10000" y="0"/>
                </a:lnTo>
                <a:lnTo>
                  <a:pt x="5000" y="5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658FFF46-8010-4F9F-AE72-9028D65940DF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 bwMode="gray">
          <a:xfrm>
            <a:off x="2279659" y="2663100"/>
            <a:ext cx="4960801" cy="248040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5000"/>
              <a:gd name="connsiteX1" fmla="*/ 5000 w 10000"/>
              <a:gd name="connsiteY1" fmla="*/ 0 h 5000"/>
              <a:gd name="connsiteX2" fmla="*/ 10000 w 10000"/>
              <a:gd name="connsiteY2" fmla="*/ 5000 h 5000"/>
              <a:gd name="connsiteX3" fmla="*/ 0 w 10000"/>
              <a:gd name="connsiteY3" fmla="*/ 5000 h 5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5000">
                <a:moveTo>
                  <a:pt x="0" y="5000"/>
                </a:moveTo>
                <a:lnTo>
                  <a:pt x="5000" y="0"/>
                </a:lnTo>
                <a:lnTo>
                  <a:pt x="10000" y="5000"/>
                </a:lnTo>
                <a:lnTo>
                  <a:pt x="0" y="5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/>
          <a:p>
            <a:r>
              <a:rPr lang="en-US"/>
              <a:t> </a:t>
            </a:r>
            <a:endParaRPr lang="en-GB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B66E0B52-365A-4D6A-AB81-ADC5F8F8FFD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4846035" y="1851623"/>
            <a:ext cx="1440000" cy="1440000"/>
          </a:xfrm>
          <a:prstGeom prst="flowChartDecision">
            <a:avLst/>
          </a:prstGeom>
          <a:solidFill>
            <a:schemeClr val="bg1"/>
          </a:solidFill>
        </p:spPr>
        <p:txBody>
          <a:bodyPr>
            <a:noAutofit/>
          </a:bodyPr>
          <a:lstStyle>
            <a:lvl1pPr>
              <a:defRPr sz="1425"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17" name="Round Diagonal Corner Rectangle 4">
            <a:extLst>
              <a:ext uri="{FF2B5EF4-FFF2-40B4-BE49-F238E27FC236}">
                <a16:creationId xmlns:a16="http://schemas.microsoft.com/office/drawing/2014/main" id="{7EF46B65-58C7-4BF4-B402-D21DCC45562C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A4769A89-F694-4BC2-B8EA-1E2093D69AA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41" y="208025"/>
            <a:ext cx="1153207" cy="514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393468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Electricity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7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25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531" y="680342"/>
            <a:ext cx="2598742" cy="1769715"/>
          </a:xfrm>
        </p:spPr>
        <p:txBody>
          <a:bodyPr anchor="b" anchorCtr="0"/>
          <a:lstStyle>
            <a:lvl1pPr>
              <a:defRPr sz="114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96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65301795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Transmiss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7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25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531" y="680342"/>
            <a:ext cx="2598742" cy="1769715"/>
          </a:xfrm>
        </p:spPr>
        <p:txBody>
          <a:bodyPr anchor="b" anchorCtr="0"/>
          <a:lstStyle>
            <a:lvl1pPr>
              <a:defRPr sz="114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96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9" name="Round Diagonal Corner Rectangle 4">
            <a:extLst>
              <a:ext uri="{FF2B5EF4-FFF2-40B4-BE49-F238E27FC236}">
                <a16:creationId xmlns:a16="http://schemas.microsoft.com/office/drawing/2014/main" id="{DE53115C-105A-4CE7-BEF2-2D7D7A9604F8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A4C1D0B-5407-4DAA-8724-B6778E12A9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342" y="208022"/>
            <a:ext cx="1736469" cy="514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072930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+ Gas System Operat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6EA4CB8-B76A-4A4F-B30A-6D19D7F5192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0197" y="2536529"/>
            <a:ext cx="2524125" cy="769441"/>
          </a:xfrm>
        </p:spPr>
        <p:txBody>
          <a:bodyPr/>
          <a:lstStyle>
            <a:lvl1pPr>
              <a:spcAft>
                <a:spcPts val="0"/>
              </a:spcAft>
              <a:defRPr lang="en-US" sz="3225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18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US"/>
              <a:t>Title</a:t>
            </a:r>
          </a:p>
          <a:p>
            <a:pPr lvl="1"/>
            <a:r>
              <a:rPr lang="en-US"/>
              <a:t>Sub heading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324416E-20A7-468D-9CF8-500D2A91B3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17531" y="680342"/>
            <a:ext cx="2598742" cy="1769715"/>
          </a:xfrm>
        </p:spPr>
        <p:txBody>
          <a:bodyPr anchor="b" anchorCtr="0"/>
          <a:lstStyle>
            <a:lvl1pPr>
              <a:defRPr sz="114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1</a:t>
            </a:r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B6D58862-146A-4EE8-ADC1-F3A18F91FACA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 bwMode="gray">
          <a:xfrm>
            <a:off x="3099496" y="-9501"/>
            <a:ext cx="6056160" cy="5157980"/>
          </a:xfrm>
          <a:custGeom>
            <a:avLst/>
            <a:gdLst>
              <a:gd name="connsiteX0" fmla="*/ 0 w 10000"/>
              <a:gd name="connsiteY0" fmla="*/ 5000 h 10000"/>
              <a:gd name="connsiteX1" fmla="*/ 5000 w 10000"/>
              <a:gd name="connsiteY1" fmla="*/ 0 h 10000"/>
              <a:gd name="connsiteX2" fmla="*/ 10000 w 10000"/>
              <a:gd name="connsiteY2" fmla="*/ 5000 h 10000"/>
              <a:gd name="connsiteX3" fmla="*/ 5000 w 10000"/>
              <a:gd name="connsiteY3" fmla="*/ 10000 h 10000"/>
              <a:gd name="connsiteX4" fmla="*/ 0 w 10000"/>
              <a:gd name="connsiteY4" fmla="*/ 5000 h 10000"/>
              <a:gd name="connsiteX0" fmla="*/ 0 w 10000"/>
              <a:gd name="connsiteY0" fmla="*/ 5000 h 10000"/>
              <a:gd name="connsiteX1" fmla="*/ 2078 w 10000"/>
              <a:gd name="connsiteY1" fmla="*/ 2934 h 10000"/>
              <a:gd name="connsiteX2" fmla="*/ 5000 w 10000"/>
              <a:gd name="connsiteY2" fmla="*/ 0 h 10000"/>
              <a:gd name="connsiteX3" fmla="*/ 10000 w 10000"/>
              <a:gd name="connsiteY3" fmla="*/ 5000 h 10000"/>
              <a:gd name="connsiteX4" fmla="*/ 5000 w 10000"/>
              <a:gd name="connsiteY4" fmla="*/ 10000 h 10000"/>
              <a:gd name="connsiteX5" fmla="*/ 0 w 10000"/>
              <a:gd name="connsiteY5" fmla="*/ 5000 h 10000"/>
              <a:gd name="connsiteX0" fmla="*/ 0 w 10000"/>
              <a:gd name="connsiteY0" fmla="*/ 2066 h 7066"/>
              <a:gd name="connsiteX1" fmla="*/ 2078 w 10000"/>
              <a:gd name="connsiteY1" fmla="*/ 0 h 7066"/>
              <a:gd name="connsiteX2" fmla="*/ 6120 w 10000"/>
              <a:gd name="connsiteY2" fmla="*/ 38 h 7066"/>
              <a:gd name="connsiteX3" fmla="*/ 10000 w 10000"/>
              <a:gd name="connsiteY3" fmla="*/ 2066 h 7066"/>
              <a:gd name="connsiteX4" fmla="*/ 5000 w 10000"/>
              <a:gd name="connsiteY4" fmla="*/ 7066 h 7066"/>
              <a:gd name="connsiteX5" fmla="*/ 0 w 10000"/>
              <a:gd name="connsiteY5" fmla="*/ 2066 h 7066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0 w 10000"/>
              <a:gd name="connsiteY5" fmla="*/ 2924 h 10000"/>
              <a:gd name="connsiteX0" fmla="*/ 0 w 10000"/>
              <a:gd name="connsiteY0" fmla="*/ 2924 h 10000"/>
              <a:gd name="connsiteX1" fmla="*/ 2078 w 10000"/>
              <a:gd name="connsiteY1" fmla="*/ 0 h 10000"/>
              <a:gd name="connsiteX2" fmla="*/ 6493 w 10000"/>
              <a:gd name="connsiteY2" fmla="*/ 10 h 10000"/>
              <a:gd name="connsiteX3" fmla="*/ 10000 w 10000"/>
              <a:gd name="connsiteY3" fmla="*/ 2924 h 10000"/>
              <a:gd name="connsiteX4" fmla="*/ 5000 w 10000"/>
              <a:gd name="connsiteY4" fmla="*/ 10000 h 10000"/>
              <a:gd name="connsiteX5" fmla="*/ 3431 w 10000"/>
              <a:gd name="connsiteY5" fmla="*/ 7773 h 10000"/>
              <a:gd name="connsiteX6" fmla="*/ 0 w 10000"/>
              <a:gd name="connsiteY6" fmla="*/ 2924 h 10000"/>
              <a:gd name="connsiteX0" fmla="*/ 0 w 10000"/>
              <a:gd name="connsiteY0" fmla="*/ 2924 h 7773"/>
              <a:gd name="connsiteX1" fmla="*/ 2078 w 10000"/>
              <a:gd name="connsiteY1" fmla="*/ 0 h 7773"/>
              <a:gd name="connsiteX2" fmla="*/ 6493 w 10000"/>
              <a:gd name="connsiteY2" fmla="*/ 10 h 7773"/>
              <a:gd name="connsiteX3" fmla="*/ 10000 w 10000"/>
              <a:gd name="connsiteY3" fmla="*/ 2924 h 7773"/>
              <a:gd name="connsiteX4" fmla="*/ 5731 w 10000"/>
              <a:gd name="connsiteY4" fmla="*/ 7710 h 7773"/>
              <a:gd name="connsiteX5" fmla="*/ 3431 w 10000"/>
              <a:gd name="connsiteY5" fmla="*/ 7773 h 7773"/>
              <a:gd name="connsiteX6" fmla="*/ 0 w 10000"/>
              <a:gd name="connsiteY6" fmla="*/ 2924 h 7773"/>
              <a:gd name="connsiteX0" fmla="*/ 0 w 10000"/>
              <a:gd name="connsiteY0" fmla="*/ 3762 h 10004"/>
              <a:gd name="connsiteX1" fmla="*/ 2078 w 10000"/>
              <a:gd name="connsiteY1" fmla="*/ 0 h 10004"/>
              <a:gd name="connsiteX2" fmla="*/ 6493 w 10000"/>
              <a:gd name="connsiteY2" fmla="*/ 13 h 10004"/>
              <a:gd name="connsiteX3" fmla="*/ 10000 w 10000"/>
              <a:gd name="connsiteY3" fmla="*/ 3762 h 10004"/>
              <a:gd name="connsiteX4" fmla="*/ 6509 w 10000"/>
              <a:gd name="connsiteY4" fmla="*/ 10004 h 10004"/>
              <a:gd name="connsiteX5" fmla="*/ 3431 w 10000"/>
              <a:gd name="connsiteY5" fmla="*/ 10000 h 10004"/>
              <a:gd name="connsiteX6" fmla="*/ 0 w 10000"/>
              <a:gd name="connsiteY6" fmla="*/ 3762 h 10004"/>
              <a:gd name="connsiteX0" fmla="*/ 0 w 6509"/>
              <a:gd name="connsiteY0" fmla="*/ 3762 h 10004"/>
              <a:gd name="connsiteX1" fmla="*/ 2078 w 6509"/>
              <a:gd name="connsiteY1" fmla="*/ 0 h 10004"/>
              <a:gd name="connsiteX2" fmla="*/ 6493 w 6509"/>
              <a:gd name="connsiteY2" fmla="*/ 13 h 10004"/>
              <a:gd name="connsiteX3" fmla="*/ 6509 w 6509"/>
              <a:gd name="connsiteY3" fmla="*/ 10004 h 10004"/>
              <a:gd name="connsiteX4" fmla="*/ 3431 w 6509"/>
              <a:gd name="connsiteY4" fmla="*/ 10000 h 10004"/>
              <a:gd name="connsiteX5" fmla="*/ 0 w 6509"/>
              <a:gd name="connsiteY5" fmla="*/ 3762 h 10004"/>
              <a:gd name="connsiteX0" fmla="*/ 0 w 10000"/>
              <a:gd name="connsiteY0" fmla="*/ 3762 h 10002"/>
              <a:gd name="connsiteX1" fmla="*/ 3193 w 10000"/>
              <a:gd name="connsiteY1" fmla="*/ 2 h 10002"/>
              <a:gd name="connsiteX2" fmla="*/ 9975 w 10000"/>
              <a:gd name="connsiteY2" fmla="*/ 0 h 10002"/>
              <a:gd name="connsiteX3" fmla="*/ 10000 w 10000"/>
              <a:gd name="connsiteY3" fmla="*/ 10002 h 10002"/>
              <a:gd name="connsiteX4" fmla="*/ 5271 w 10000"/>
              <a:gd name="connsiteY4" fmla="*/ 9998 h 10002"/>
              <a:gd name="connsiteX5" fmla="*/ 0 w 10000"/>
              <a:gd name="connsiteY5" fmla="*/ 3762 h 10002"/>
              <a:gd name="connsiteX0" fmla="*/ 0 w 9987"/>
              <a:gd name="connsiteY0" fmla="*/ 3762 h 10047"/>
              <a:gd name="connsiteX1" fmla="*/ 3193 w 9987"/>
              <a:gd name="connsiteY1" fmla="*/ 2 h 10047"/>
              <a:gd name="connsiteX2" fmla="*/ 9975 w 9987"/>
              <a:gd name="connsiteY2" fmla="*/ 0 h 10047"/>
              <a:gd name="connsiteX3" fmla="*/ 9987 w 9987"/>
              <a:gd name="connsiteY3" fmla="*/ 10047 h 10047"/>
              <a:gd name="connsiteX4" fmla="*/ 5271 w 9987"/>
              <a:gd name="connsiteY4" fmla="*/ 9998 h 10047"/>
              <a:gd name="connsiteX5" fmla="*/ 0 w 9987"/>
              <a:gd name="connsiteY5" fmla="*/ 3762 h 10047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66 h 10000"/>
              <a:gd name="connsiteX5" fmla="*/ 0 w 10000"/>
              <a:gd name="connsiteY5" fmla="*/ 3744 h 10000"/>
              <a:gd name="connsiteX0" fmla="*/ 0 w 10000"/>
              <a:gd name="connsiteY0" fmla="*/ 3744 h 10000"/>
              <a:gd name="connsiteX1" fmla="*/ 3197 w 10000"/>
              <a:gd name="connsiteY1" fmla="*/ 2 h 10000"/>
              <a:gd name="connsiteX2" fmla="*/ 9988 w 10000"/>
              <a:gd name="connsiteY2" fmla="*/ 0 h 10000"/>
              <a:gd name="connsiteX3" fmla="*/ 10000 w 10000"/>
              <a:gd name="connsiteY3" fmla="*/ 10000 h 10000"/>
              <a:gd name="connsiteX4" fmla="*/ 5291 w 10000"/>
              <a:gd name="connsiteY4" fmla="*/ 9996 h 10000"/>
              <a:gd name="connsiteX5" fmla="*/ 0 w 10000"/>
              <a:gd name="connsiteY5" fmla="*/ 3744 h 10000"/>
              <a:gd name="connsiteX0" fmla="*/ 0 w 10110"/>
              <a:gd name="connsiteY0" fmla="*/ 3596 h 10000"/>
              <a:gd name="connsiteX1" fmla="*/ 3307 w 10110"/>
              <a:gd name="connsiteY1" fmla="*/ 2 h 10000"/>
              <a:gd name="connsiteX2" fmla="*/ 10098 w 10110"/>
              <a:gd name="connsiteY2" fmla="*/ 0 h 10000"/>
              <a:gd name="connsiteX3" fmla="*/ 10110 w 10110"/>
              <a:gd name="connsiteY3" fmla="*/ 10000 h 10000"/>
              <a:gd name="connsiteX4" fmla="*/ 5401 w 10110"/>
              <a:gd name="connsiteY4" fmla="*/ 9996 h 10000"/>
              <a:gd name="connsiteX5" fmla="*/ 0 w 10110"/>
              <a:gd name="connsiteY5" fmla="*/ 3596 h 10000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401 w 10110"/>
              <a:gd name="connsiteY4" fmla="*/ 10012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6061 w 10110"/>
              <a:gd name="connsiteY4" fmla="*/ 9624 h 10016"/>
              <a:gd name="connsiteX5" fmla="*/ 0 w 10110"/>
              <a:gd name="connsiteY5" fmla="*/ 3612 h 10016"/>
              <a:gd name="connsiteX0" fmla="*/ 0 w 10110"/>
              <a:gd name="connsiteY0" fmla="*/ 3612 h 10016"/>
              <a:gd name="connsiteX1" fmla="*/ 3040 w 10110"/>
              <a:gd name="connsiteY1" fmla="*/ 0 h 10016"/>
              <a:gd name="connsiteX2" fmla="*/ 10098 w 10110"/>
              <a:gd name="connsiteY2" fmla="*/ 16 h 10016"/>
              <a:gd name="connsiteX3" fmla="*/ 10110 w 10110"/>
              <a:gd name="connsiteY3" fmla="*/ 10016 h 10016"/>
              <a:gd name="connsiteX4" fmla="*/ 5590 w 10110"/>
              <a:gd name="connsiteY4" fmla="*/ 9975 h 10016"/>
              <a:gd name="connsiteX5" fmla="*/ 0 w 10110"/>
              <a:gd name="connsiteY5" fmla="*/ 3612 h 10016"/>
              <a:gd name="connsiteX0" fmla="*/ 0 w 9987"/>
              <a:gd name="connsiteY0" fmla="*/ 3507 h 10016"/>
              <a:gd name="connsiteX1" fmla="*/ 2917 w 9987"/>
              <a:gd name="connsiteY1" fmla="*/ 0 h 10016"/>
              <a:gd name="connsiteX2" fmla="*/ 9975 w 9987"/>
              <a:gd name="connsiteY2" fmla="*/ 16 h 10016"/>
              <a:gd name="connsiteX3" fmla="*/ 9987 w 9987"/>
              <a:gd name="connsiteY3" fmla="*/ 10016 h 10016"/>
              <a:gd name="connsiteX4" fmla="*/ 5467 w 9987"/>
              <a:gd name="connsiteY4" fmla="*/ 9975 h 10016"/>
              <a:gd name="connsiteX5" fmla="*/ 0 w 9987"/>
              <a:gd name="connsiteY5" fmla="*/ 3507 h 10016"/>
              <a:gd name="connsiteX0" fmla="*/ 0 w 10000"/>
              <a:gd name="connsiteY0" fmla="*/ 3501 h 10000"/>
              <a:gd name="connsiteX1" fmla="*/ 2921 w 10000"/>
              <a:gd name="connsiteY1" fmla="*/ 0 h 10000"/>
              <a:gd name="connsiteX2" fmla="*/ 9988 w 10000"/>
              <a:gd name="connsiteY2" fmla="*/ 16 h 10000"/>
              <a:gd name="connsiteX3" fmla="*/ 10000 w 10000"/>
              <a:gd name="connsiteY3" fmla="*/ 10000 h 10000"/>
              <a:gd name="connsiteX4" fmla="*/ 5474 w 10000"/>
              <a:gd name="connsiteY4" fmla="*/ 9959 h 10000"/>
              <a:gd name="connsiteX5" fmla="*/ 0 w 10000"/>
              <a:gd name="connsiteY5" fmla="*/ 350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3501"/>
                </a:moveTo>
                <a:cubicBezTo>
                  <a:pt x="23" y="3463"/>
                  <a:pt x="1947" y="1167"/>
                  <a:pt x="2921" y="0"/>
                </a:cubicBezTo>
                <a:lnTo>
                  <a:pt x="9988" y="16"/>
                </a:lnTo>
                <a:cubicBezTo>
                  <a:pt x="9996" y="3324"/>
                  <a:pt x="9992" y="6692"/>
                  <a:pt x="10000" y="10000"/>
                </a:cubicBezTo>
                <a:lnTo>
                  <a:pt x="5474" y="9959"/>
                </a:lnTo>
                <a:lnTo>
                  <a:pt x="0" y="350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Autofit/>
          </a:bodyPr>
          <a:lstStyle>
            <a:lvl1pPr algn="ctr"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6378259-38E9-45E5-B3A5-E2A8A5A3E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3302" y="4633912"/>
            <a:ext cx="1410824" cy="290076"/>
          </a:xfrm>
          <a:prstGeom prst="rect">
            <a:avLst/>
          </a:prstGeom>
        </p:spPr>
      </p:pic>
      <p:sp>
        <p:nvSpPr>
          <p:cNvPr id="11" name="Round Diagonal Corner Rectangle 4">
            <a:extLst>
              <a:ext uri="{FF2B5EF4-FFF2-40B4-BE49-F238E27FC236}">
                <a16:creationId xmlns:a16="http://schemas.microsoft.com/office/drawing/2014/main" id="{6CC7CF4C-7ECE-4939-8EBC-3E10506D9B76}"/>
              </a:ext>
            </a:extLst>
          </p:cNvPr>
          <p:cNvSpPr/>
          <p:nvPr userDrawn="1"/>
        </p:nvSpPr>
        <p:spPr>
          <a:xfrm>
            <a:off x="9206463" y="1"/>
            <a:ext cx="2030635" cy="2116406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2129" tIns="42129" rIns="42129" bIns="42129" rtlCol="0" anchor="t" anchorCtr="0">
            <a:spAutoFit/>
          </a:bodyPr>
          <a:lstStyle/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</a:t>
            </a: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pdating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9142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90470" marR="0" lvl="2" indent="-90470" algn="l" defTabSz="9142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2379" y="255609"/>
            <a:ext cx="1547332" cy="457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319224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8505647" y="4778446"/>
            <a:ext cx="638355" cy="365125"/>
          </a:xfrm>
          <a:prstGeom prst="rect">
            <a:avLst/>
          </a:prstGeom>
        </p:spPr>
        <p:txBody>
          <a:bodyPr lIns="91420" tIns="45710" rIns="91420" bIns="45710"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600" smtClean="0"/>
              <a:pPr/>
              <a:t>‹#›</a:t>
            </a:fld>
            <a:endParaRPr lang="en-GB" sz="6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105060" y="2051785"/>
            <a:ext cx="4933950" cy="1039932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350"/>
            </a:p>
          </p:txBody>
        </p:sp>
      </p:grpSp>
    </p:spTree>
    <p:extLst>
      <p:ext uri="{BB962C8B-B14F-4D97-AF65-F5344CB8AC3E}">
        <p14:creationId xmlns:p14="http://schemas.microsoft.com/office/powerpoint/2010/main" val="69604106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93700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66863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47875"/>
            <a:ext cx="4040188" cy="25050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66863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047875"/>
            <a:ext cx="4041775" cy="25050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55025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19100"/>
            <a:ext cx="8229600" cy="85725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8722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60181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92113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392113"/>
            <a:ext cx="5111750" cy="41608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263650"/>
            <a:ext cx="3008313" cy="32893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69545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6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image" Target="../media/image6.sv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6.xml"/><Relationship Id="rId18" Type="http://schemas.openxmlformats.org/officeDocument/2006/relationships/image" Target="../media/image17.emf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36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vmlDrawing" Target="../drawings/vmlDrawing1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48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56.xml"/><Relationship Id="rId19" Type="http://schemas.openxmlformats.org/officeDocument/2006/relationships/image" Target="../media/image17.emf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45E22D-F131-4D0D-8179-386C8885B195}" type="datetime1">
              <a:rPr lang="en-US" smtClean="0"/>
              <a:t>7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ACAC6D-BD82-4571-9E34-C1EFF11A946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3714750"/>
            <a:ext cx="9144000" cy="1485900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3714750"/>
            <a:ext cx="9144000" cy="76200"/>
          </a:xfrm>
          <a:prstGeom prst="rect">
            <a:avLst/>
          </a:prstGeom>
          <a:solidFill>
            <a:srgbClr val="006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 descr="NYSERDA 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3400" y="285750"/>
            <a:ext cx="3405540" cy="822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744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</p:sldLayoutIdLst>
  <p:hf sldNum="0"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581150"/>
            <a:ext cx="5334000" cy="2743200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1540453"/>
            <a:ext cx="5334000" cy="81394"/>
          </a:xfrm>
          <a:prstGeom prst="rect">
            <a:avLst/>
          </a:prstGeom>
          <a:solidFill>
            <a:srgbClr val="006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Slide Number Placeholder 3"/>
          <p:cNvSpPr txBox="1">
            <a:spLocks/>
          </p:cNvSpPr>
          <p:nvPr userDrawn="1"/>
        </p:nvSpPr>
        <p:spPr>
          <a:xfrm>
            <a:off x="8305800" y="88105"/>
            <a:ext cx="6858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DF52EC2-2C0B-4C03-9888-0B25156ED88D}" type="slidenum">
              <a:rPr lang="en-US" sz="1200" smtClean="0">
                <a:solidFill>
                  <a:srgbClr val="002D73"/>
                </a:solidFill>
              </a:rPr>
              <a:pPr algn="r"/>
              <a:t>‹#›</a:t>
            </a:fld>
            <a:endParaRPr lang="en-US" sz="1200" dirty="0">
              <a:solidFill>
                <a:srgbClr val="002D73"/>
              </a:solidFill>
            </a:endParaRPr>
          </a:p>
        </p:txBody>
      </p:sp>
      <p:pic>
        <p:nvPicPr>
          <p:cNvPr id="8" name="Picture 7" descr="NYSERDA 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391400" y="4552950"/>
            <a:ext cx="151358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248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</p:sldLayoutIdLst>
  <p:hf sldNum="0"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9370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87475"/>
            <a:ext cx="8229600" cy="31654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2344"/>
            <a:ext cx="9144000" cy="299605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8305800" y="88105"/>
            <a:ext cx="685800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DF52EC2-2C0B-4C03-9888-0B25156ED88D}" type="slidenum">
              <a:rPr lang="en-US" sz="1200" smtClean="0"/>
              <a:pPr algn="r"/>
              <a:t>‹#›</a:t>
            </a:fld>
            <a:endParaRPr lang="en-US" sz="12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-19050"/>
            <a:ext cx="9144000" cy="81394"/>
          </a:xfrm>
          <a:prstGeom prst="rect">
            <a:avLst/>
          </a:prstGeom>
          <a:solidFill>
            <a:srgbClr val="0069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 descr="NYSERDA Logo.pn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7391400" y="4552950"/>
            <a:ext cx="1513584" cy="365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379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1802" y="271040"/>
            <a:ext cx="82804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2" y="1059361"/>
            <a:ext cx="8280400" cy="2700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72639" y="4764041"/>
            <a:ext cx="534283" cy="1269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buClr>
                <a:srgbClr val="55555A"/>
              </a:buClr>
            </a:pPr>
            <a:fld id="{C765D33F-A874-457A-8BB6-233806FE7182}" type="slidenum">
              <a:rPr sz="825">
                <a:solidFill>
                  <a:srgbClr val="00148C"/>
                </a:solidFill>
              </a:rPr>
              <a:pPr>
                <a:buClr>
                  <a:srgbClr val="55555A"/>
                </a:buClr>
              </a:pPr>
              <a:t>‹#›</a:t>
            </a:fld>
            <a:endParaRPr sz="825" dirty="0">
              <a:solidFill>
                <a:srgbClr val="00148C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1801" y="4764041"/>
            <a:ext cx="912058" cy="1269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buClr>
                <a:srgbClr val="55555A"/>
              </a:buClr>
              <a:tabLst>
                <a:tab pos="741760" algn="l"/>
              </a:tabLst>
            </a:pPr>
            <a:r>
              <a:rPr lang="fr-FR" sz="825" b="1" dirty="0">
                <a:solidFill>
                  <a:srgbClr val="00148C"/>
                </a:solidFill>
              </a:rPr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3056796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75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75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75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75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257150" algn="l" rtl="0" eaLnBrk="1" fontAlgn="base" hangingPunct="1">
        <a:spcBef>
          <a:spcPct val="0"/>
        </a:spcBef>
        <a:spcAft>
          <a:spcPct val="0"/>
        </a:spcAft>
        <a:defRPr sz="1575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514299" algn="l" rtl="0" eaLnBrk="1" fontAlgn="base" hangingPunct="1">
        <a:spcBef>
          <a:spcPct val="0"/>
        </a:spcBef>
        <a:spcAft>
          <a:spcPct val="0"/>
        </a:spcAft>
        <a:defRPr sz="1575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771449" algn="l" rtl="0" eaLnBrk="1" fontAlgn="base" hangingPunct="1">
        <a:spcBef>
          <a:spcPct val="0"/>
        </a:spcBef>
        <a:spcAft>
          <a:spcPct val="0"/>
        </a:spcAft>
        <a:defRPr sz="1575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028598" algn="l" rtl="0" eaLnBrk="1" fontAlgn="base" hangingPunct="1">
        <a:spcBef>
          <a:spcPct val="0"/>
        </a:spcBef>
        <a:spcAft>
          <a:spcPct val="0"/>
        </a:spcAft>
        <a:defRPr sz="1575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900"/>
        </a:spcAft>
        <a:buClr>
          <a:schemeClr val="tx1"/>
        </a:buClr>
        <a:buFontTx/>
        <a:buNone/>
        <a:defRPr sz="135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900"/>
        </a:spcAft>
        <a:buClr>
          <a:schemeClr val="tx1"/>
        </a:buClr>
        <a:buFontTx/>
        <a:buNone/>
        <a:defRPr sz="1200">
          <a:solidFill>
            <a:srgbClr val="080808"/>
          </a:solidFill>
          <a:latin typeface="+mn-lt"/>
          <a:ea typeface="+mn-ea"/>
        </a:defRPr>
      </a:lvl2pPr>
      <a:lvl3pPr marL="202500" indent="-202500" algn="l" rtl="0" eaLnBrk="1" fontAlgn="base" hangingPunct="1">
        <a:spcBef>
          <a:spcPct val="0"/>
        </a:spcBef>
        <a:spcAft>
          <a:spcPts val="9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rgbClr val="080808"/>
          </a:solidFill>
          <a:latin typeface="+mn-lt"/>
          <a:ea typeface="+mn-ea"/>
        </a:defRPr>
      </a:lvl3pPr>
      <a:lvl4pPr marL="405000" indent="-202500" algn="l" rtl="0" eaLnBrk="1" fontAlgn="base" hangingPunct="1">
        <a:spcBef>
          <a:spcPct val="0"/>
        </a:spcBef>
        <a:spcAft>
          <a:spcPts val="9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rgbClr val="080808"/>
          </a:solidFill>
          <a:latin typeface="+mn-lt"/>
          <a:ea typeface="+mn-ea"/>
        </a:defRPr>
      </a:lvl4pPr>
      <a:lvl5pPr marL="607500" indent="-202500" algn="l" rtl="0" eaLnBrk="1" fontAlgn="base" hangingPunct="1">
        <a:spcBef>
          <a:spcPct val="0"/>
        </a:spcBef>
        <a:spcAft>
          <a:spcPts val="9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rgbClr val="080808"/>
          </a:solidFill>
          <a:latin typeface="+mn-lt"/>
          <a:ea typeface="+mn-ea"/>
        </a:defRPr>
      </a:lvl5pPr>
      <a:lvl6pPr marL="0" indent="-202500" algn="l" rtl="0" eaLnBrk="1" fontAlgn="base" hangingPunct="1">
        <a:spcBef>
          <a:spcPct val="0"/>
        </a:spcBef>
        <a:spcAft>
          <a:spcPts val="900"/>
        </a:spcAft>
        <a:buClr>
          <a:schemeClr val="accent1"/>
        </a:buClr>
        <a:buFont typeface="+mj-lt"/>
        <a:buAutoNum type="arabicPeriod"/>
        <a:defRPr sz="1200">
          <a:solidFill>
            <a:srgbClr val="080808"/>
          </a:solidFill>
          <a:latin typeface="+mn-lt"/>
          <a:ea typeface="+mn-ea"/>
        </a:defRPr>
      </a:lvl6pPr>
      <a:lvl7pPr marL="405000" indent="-202500" algn="l" rtl="0" eaLnBrk="1" fontAlgn="base" hangingPunct="1">
        <a:spcBef>
          <a:spcPct val="0"/>
        </a:spcBef>
        <a:spcAft>
          <a:spcPts val="900"/>
        </a:spcAft>
        <a:buClr>
          <a:schemeClr val="accent1"/>
        </a:buClr>
        <a:buFont typeface="+mj-lt"/>
        <a:buAutoNum type="alphaLcPeriod"/>
        <a:defRPr sz="1200">
          <a:solidFill>
            <a:srgbClr val="080808"/>
          </a:solidFill>
          <a:latin typeface="+mn-lt"/>
          <a:ea typeface="+mn-ea"/>
        </a:defRPr>
      </a:lvl7pPr>
      <a:lvl8pPr marL="607500" indent="-202500" algn="l" rtl="0" eaLnBrk="1" fontAlgn="base" hangingPunct="1">
        <a:spcBef>
          <a:spcPct val="0"/>
        </a:spcBef>
        <a:spcAft>
          <a:spcPts val="900"/>
        </a:spcAft>
        <a:buClr>
          <a:schemeClr val="accent1"/>
        </a:buClr>
        <a:buFont typeface="+mj-lt"/>
        <a:buAutoNum type="romanLcPeriod"/>
        <a:defRPr sz="1200">
          <a:solidFill>
            <a:srgbClr val="080808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900"/>
        </a:spcAft>
        <a:buClr>
          <a:schemeClr val="tx1"/>
        </a:buClr>
        <a:buFontTx/>
        <a:buNone/>
        <a:defRPr sz="18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450"/>
        </a:spcAft>
        <a:buClr>
          <a:schemeClr val="tx1"/>
        </a:buClr>
        <a:buFontTx/>
        <a:buNone/>
        <a:defRPr sz="9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450"/>
        </a:spcAft>
        <a:buClr>
          <a:schemeClr val="tx1"/>
        </a:buClr>
        <a:buFontTx/>
        <a:buNone/>
        <a:defRPr sz="900">
          <a:solidFill>
            <a:schemeClr val="tx1"/>
          </a:solidFill>
          <a:latin typeface="+mn-lt"/>
          <a:ea typeface="+mn-ea"/>
        </a:defRPr>
      </a:lvl2pPr>
      <a:lvl3pPr marL="135000" indent="-135000" algn="l" rtl="0" eaLnBrk="1" fontAlgn="base" hangingPunct="1">
        <a:spcBef>
          <a:spcPct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•"/>
        <a:defRPr sz="900">
          <a:solidFill>
            <a:schemeClr val="tx1"/>
          </a:solidFill>
          <a:latin typeface="+mn-lt"/>
          <a:ea typeface="+mn-ea"/>
        </a:defRPr>
      </a:lvl3pPr>
      <a:lvl4pPr marL="270000" indent="-135000" algn="l" rtl="0" eaLnBrk="1" fontAlgn="base" hangingPunct="1">
        <a:spcBef>
          <a:spcPct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-"/>
        <a:defRPr sz="900">
          <a:solidFill>
            <a:schemeClr val="tx1"/>
          </a:solidFill>
          <a:latin typeface="+mn-lt"/>
          <a:ea typeface="+mn-ea"/>
        </a:defRPr>
      </a:lvl4pPr>
      <a:lvl5pPr marL="405000" indent="-135000" algn="l" rtl="0" eaLnBrk="1" fontAlgn="base" hangingPunct="1">
        <a:spcBef>
          <a:spcPct val="0"/>
        </a:spcBef>
        <a:spcAft>
          <a:spcPts val="450"/>
        </a:spcAft>
        <a:buClr>
          <a:schemeClr val="accent1"/>
        </a:buClr>
        <a:buFont typeface="Arial" panose="020B0604020202020204" pitchFamily="34" charset="0"/>
        <a:buChar char="◦"/>
        <a:defRPr sz="900">
          <a:solidFill>
            <a:schemeClr val="tx1"/>
          </a:solidFill>
          <a:latin typeface="+mn-lt"/>
          <a:ea typeface="+mn-ea"/>
        </a:defRPr>
      </a:lvl5pPr>
      <a:lvl6pPr marL="135000" indent="-135000" algn="l" rtl="0" eaLnBrk="1" fontAlgn="base" hangingPunct="1">
        <a:spcBef>
          <a:spcPct val="0"/>
        </a:spcBef>
        <a:spcAft>
          <a:spcPts val="450"/>
        </a:spcAft>
        <a:buClr>
          <a:schemeClr val="accent1"/>
        </a:buClr>
        <a:buFont typeface="+mj-lt"/>
        <a:buAutoNum type="arabicPeriod"/>
        <a:defRPr sz="900">
          <a:solidFill>
            <a:schemeClr val="tx1"/>
          </a:solidFill>
          <a:latin typeface="+mn-lt"/>
          <a:ea typeface="+mn-ea"/>
        </a:defRPr>
      </a:lvl6pPr>
      <a:lvl7pPr marL="270000" indent="-135000" algn="l" rtl="0" eaLnBrk="1" fontAlgn="base" hangingPunct="1">
        <a:spcBef>
          <a:spcPct val="0"/>
        </a:spcBef>
        <a:spcAft>
          <a:spcPts val="450"/>
        </a:spcAft>
        <a:buClr>
          <a:schemeClr val="accent1"/>
        </a:buClr>
        <a:buFont typeface="+mj-lt"/>
        <a:buAutoNum type="alphaLcPeriod"/>
        <a:defRPr sz="900">
          <a:solidFill>
            <a:schemeClr val="tx1"/>
          </a:solidFill>
          <a:latin typeface="+mn-lt"/>
          <a:ea typeface="+mn-ea"/>
        </a:defRPr>
      </a:lvl7pPr>
      <a:lvl8pPr marL="405000" indent="-135000" algn="l" rtl="0" eaLnBrk="1" fontAlgn="base" hangingPunct="1">
        <a:spcBef>
          <a:spcPct val="0"/>
        </a:spcBef>
        <a:spcAft>
          <a:spcPts val="450"/>
        </a:spcAft>
        <a:buClr>
          <a:schemeClr val="accent1"/>
        </a:buClr>
        <a:buFont typeface="+mj-lt"/>
        <a:buAutoNum type="romanLcPeriod"/>
        <a:defRPr sz="9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450"/>
        </a:spcAft>
        <a:buClr>
          <a:schemeClr val="tx1"/>
        </a:buClr>
        <a:buFontTx/>
        <a:buNone/>
        <a:defRPr sz="9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1" pos="3689">
          <p15:clr>
            <a:srgbClr val="F26B43"/>
          </p15:clr>
        </p15:guide>
        <p15:guide id="2" pos="7317">
          <p15:clr>
            <a:srgbClr val="F26B43"/>
          </p15:clr>
        </p15:guide>
        <p15:guide id="3" orient="horz" pos="3793">
          <p15:clr>
            <a:srgbClr val="F26B43"/>
          </p15:clr>
        </p15:guide>
        <p15:guide id="4" pos="363">
          <p15:clr>
            <a:srgbClr val="F26B43"/>
          </p15:clr>
        </p15:guide>
        <p15:guide id="5" pos="3991">
          <p15:clr>
            <a:srgbClr val="F26B43"/>
          </p15:clr>
        </p15:guide>
        <p15:guide id="6" orient="horz" pos="414">
          <p15:clr>
            <a:srgbClr val="F26B43"/>
          </p15:clr>
        </p15:guide>
        <p15:guide id="7" orient="horz" pos="889">
          <p15:clr>
            <a:srgbClr val="F26B43"/>
          </p15:clr>
        </p15:guide>
        <p15:guide id="8" pos="2752">
          <p15:clr>
            <a:srgbClr val="F26B43"/>
          </p15:clr>
        </p15:guide>
        <p15:guide id="9" pos="5140">
          <p15:clr>
            <a:srgbClr val="F26B43"/>
          </p15:clr>
        </p15:guide>
        <p15:guide id="10" pos="4928">
          <p15:clr>
            <a:srgbClr val="F26B43"/>
          </p15:clr>
        </p15:guide>
        <p15:guide id="11" pos="2540">
          <p15:clr>
            <a:srgbClr val="F26B43"/>
          </p15:clr>
        </p15:guide>
        <p15:guide id="12" orient="horz" pos="399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22780" y="267575"/>
            <a:ext cx="849737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782" y="1058864"/>
            <a:ext cx="8498440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286939" y="4740426"/>
            <a:ext cx="534283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buClr>
                <a:srgbClr val="55555A"/>
              </a:buClr>
            </a:pPr>
            <a:fld id="{C765D33F-A874-457A-8BB6-233806FE7182}" type="slidenum">
              <a:rPr sz="1100">
                <a:solidFill>
                  <a:srgbClr val="00148C"/>
                </a:solidFill>
              </a:rPr>
              <a:pPr>
                <a:buClr>
                  <a:srgbClr val="55555A"/>
                </a:buClr>
              </a:pPr>
              <a:t>‹#›</a:t>
            </a:fld>
            <a:endParaRPr sz="1100" dirty="0">
              <a:solidFill>
                <a:srgbClr val="00148C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4840" y="4740426"/>
            <a:ext cx="7195415" cy="16927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00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ts val="450"/>
              </a:spcAft>
              <a:buClr>
                <a:srgbClr val="55555A"/>
              </a:buClr>
              <a:tabLst>
                <a:tab pos="988964" algn="l"/>
              </a:tabLst>
            </a:pPr>
            <a:r>
              <a:rPr lang="en-US" kern="0" dirty="0">
                <a:solidFill>
                  <a:srgbClr val="00148C"/>
                </a:solidFill>
              </a:rPr>
              <a:t>| January GRM | January 22, 2020</a:t>
            </a:r>
            <a:endParaRPr lang="fr-FR" kern="0" dirty="0">
              <a:solidFill>
                <a:srgbClr val="00148C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DDE1F501-FF74-496C-ACE4-27240E6120EC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23268" y="4735513"/>
            <a:ext cx="889462" cy="182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41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84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698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547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396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69987" indent="-269987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539974" indent="-269987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809960" indent="-269987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0" indent="-269987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539974" indent="-269987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809960" indent="-269987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79992" indent="-179992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59982" indent="-179992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39974" indent="-179992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79992" indent="-179992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59982" indent="-179992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39974" indent="-179992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1" pos="2767">
          <p15:clr>
            <a:srgbClr val="F26B43"/>
          </p15:clr>
        </p15:guide>
        <p15:guide id="2" pos="5556">
          <p15:clr>
            <a:srgbClr val="F26B43"/>
          </p15:clr>
        </p15:guide>
        <p15:guide id="3" orient="horz" pos="2845">
          <p15:clr>
            <a:srgbClr val="F26B43"/>
          </p15:clr>
        </p15:guide>
        <p15:guide id="4" pos="204">
          <p15:clr>
            <a:srgbClr val="F26B43"/>
          </p15:clr>
        </p15:guide>
        <p15:guide id="5" pos="2993">
          <p15:clr>
            <a:srgbClr val="F26B43"/>
          </p15:clr>
        </p15:guide>
        <p15:guide id="6" orient="horz" pos="350">
          <p15:clr>
            <a:srgbClr val="F26B43"/>
          </p15:clr>
        </p15:guide>
        <p15:guide id="7" orient="horz" pos="667">
          <p15:clr>
            <a:srgbClr val="F26B43"/>
          </p15:clr>
        </p15:guide>
        <p15:guide id="8" pos="2064">
          <p15:clr>
            <a:srgbClr val="F26B43"/>
          </p15:clr>
        </p15:guide>
        <p15:guide id="9" pos="3923">
          <p15:clr>
            <a:srgbClr val="F26B43"/>
          </p15:clr>
        </p15:guide>
        <p15:guide id="10" pos="3696">
          <p15:clr>
            <a:srgbClr val="F26B43"/>
          </p15:clr>
        </p15:guide>
        <p15:guide id="11" pos="183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78A2FB-4FEB-4868-ACE4-C953A7EF76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504137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" name="think-cell Slide" r:id="rId17" imgW="359" imgH="360" progId="TCLayout.ActiveDocument.1">
                  <p:embed/>
                </p:oleObj>
              </mc:Choice>
              <mc:Fallback>
                <p:oleObj name="think-cell Slide" r:id="rId17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78A2FB-4FEB-4868-ACE4-C953A7EF7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D8C4552-19F9-4A3E-A255-49AE783DFFD6}"/>
              </a:ext>
            </a:extLst>
          </p:cNvPr>
          <p:cNvSpPr/>
          <p:nvPr userDrawn="1">
            <p:custDataLst>
              <p:tags r:id="rId16"/>
            </p:custDataLst>
          </p:nvPr>
        </p:nvSpPr>
        <p:spPr bwMode="auto"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338"/>
              </a:spcAft>
            </a:pPr>
            <a:endParaRPr lang="en-US" sz="24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22780" y="267575"/>
            <a:ext cx="849737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781" y="1058863"/>
            <a:ext cx="8498440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286939" y="4736579"/>
            <a:ext cx="534284" cy="17312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25" smtClean="0">
                <a:solidFill>
                  <a:schemeClr val="accent1"/>
                </a:solidFill>
              </a:rPr>
              <a:pPr/>
              <a:t>‹#›</a:t>
            </a:fld>
            <a:endParaRPr lang="en-GB" sz="1125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4840" y="4736579"/>
            <a:ext cx="7195415" cy="17312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25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988799" algn="l"/>
              </a:tabLst>
            </a:pPr>
            <a:r>
              <a:rPr lang="en-US"/>
              <a:t>Policy Board | October 29 2020</a:t>
            </a:r>
            <a:endParaRPr lang="fr-FR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322780" y="4782815"/>
            <a:ext cx="912059" cy="1269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988799" algn="l"/>
              </a:tabLst>
            </a:pPr>
            <a:r>
              <a:rPr lang="fr-FR" sz="825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2410060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5" r:id="rId12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79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583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375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167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575">
          <a:solidFill>
            <a:schemeClr val="tx1"/>
          </a:solidFill>
          <a:latin typeface="+mn-lt"/>
          <a:ea typeface="+mn-ea"/>
        </a:defRPr>
      </a:lvl2pPr>
      <a:lvl3pPr marL="269942" indent="-269942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575">
          <a:solidFill>
            <a:schemeClr val="tx1"/>
          </a:solidFill>
          <a:latin typeface="+mn-lt"/>
          <a:ea typeface="+mn-ea"/>
        </a:defRPr>
      </a:lvl3pPr>
      <a:lvl4pPr marL="539882" indent="-269942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575">
          <a:solidFill>
            <a:schemeClr val="tx1"/>
          </a:solidFill>
          <a:latin typeface="+mn-lt"/>
          <a:ea typeface="+mn-ea"/>
        </a:defRPr>
      </a:lvl4pPr>
      <a:lvl5pPr marL="809825" indent="-269942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575">
          <a:solidFill>
            <a:schemeClr val="tx1"/>
          </a:solidFill>
          <a:latin typeface="+mn-lt"/>
          <a:ea typeface="+mn-ea"/>
        </a:defRPr>
      </a:lvl5pPr>
      <a:lvl6pPr marL="0" indent="-269942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575">
          <a:solidFill>
            <a:schemeClr val="tx1"/>
          </a:solidFill>
          <a:latin typeface="+mn-lt"/>
          <a:ea typeface="+mn-ea"/>
        </a:defRPr>
      </a:lvl6pPr>
      <a:lvl7pPr marL="539882" indent="-269942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575">
          <a:solidFill>
            <a:schemeClr val="tx1"/>
          </a:solidFill>
          <a:latin typeface="+mn-lt"/>
          <a:ea typeface="+mn-ea"/>
        </a:defRPr>
      </a:lvl7pPr>
      <a:lvl8pPr marL="809825" indent="-269942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575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79960" indent="-17996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59922" indent="-17996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39882" indent="-17996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79960" indent="-17996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59922" indent="-17996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39882" indent="-17996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478A2FB-4FEB-4868-ACE4-C953A7EF76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7612496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1" name="think-cell Slide" r:id="rId18" imgW="359" imgH="360" progId="TCLayout.ActiveDocument.1">
                  <p:embed/>
                </p:oleObj>
              </mc:Choice>
              <mc:Fallback>
                <p:oleObj name="think-cell Slide" r:id="rId18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478A2FB-4FEB-4868-ACE4-C953A7EF7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D8C4552-19F9-4A3E-A255-49AE783DFFD6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338"/>
              </a:spcAft>
            </a:pPr>
            <a:endParaRPr lang="en-US" sz="24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322780" y="267575"/>
            <a:ext cx="849737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781" y="1058863"/>
            <a:ext cx="8498440" cy="3600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286939" y="4736579"/>
            <a:ext cx="534284" cy="17312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125" smtClean="0">
                <a:solidFill>
                  <a:schemeClr val="accent1"/>
                </a:solidFill>
              </a:rPr>
              <a:pPr/>
              <a:t>‹#›</a:t>
            </a:fld>
            <a:endParaRPr lang="en-GB" sz="1125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34840" y="4736579"/>
            <a:ext cx="7195415" cy="17312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125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988799" algn="l"/>
              </a:tabLst>
            </a:pPr>
            <a:r>
              <a:rPr lang="en-US"/>
              <a:t>Policy Board | October 29 2020</a:t>
            </a:r>
            <a:endParaRPr lang="fr-FR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322780" y="4782815"/>
            <a:ext cx="912059" cy="126958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988799" algn="l"/>
              </a:tabLst>
            </a:pPr>
            <a:r>
              <a:rPr lang="fr-FR" sz="825" b="1"/>
              <a:t>National Grid </a:t>
            </a:r>
          </a:p>
        </p:txBody>
      </p:sp>
    </p:spTree>
    <p:extLst>
      <p:ext uri="{BB962C8B-B14F-4D97-AF65-F5344CB8AC3E}">
        <p14:creationId xmlns:p14="http://schemas.microsoft.com/office/powerpoint/2010/main" val="615577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  <p:sldLayoutId id="2147483826" r:id="rId12"/>
    <p:sldLayoutId id="2147483827" r:id="rId1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342792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685583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028375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371167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8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1575">
          <a:solidFill>
            <a:schemeClr val="tx1"/>
          </a:solidFill>
          <a:latin typeface="+mn-lt"/>
          <a:ea typeface="+mn-ea"/>
        </a:defRPr>
      </a:lvl2pPr>
      <a:lvl3pPr marL="269942" indent="-269942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1575">
          <a:solidFill>
            <a:schemeClr val="tx1"/>
          </a:solidFill>
          <a:latin typeface="+mn-lt"/>
          <a:ea typeface="+mn-ea"/>
        </a:defRPr>
      </a:lvl3pPr>
      <a:lvl4pPr marL="539882" indent="-269942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-"/>
        <a:defRPr sz="1575">
          <a:solidFill>
            <a:schemeClr val="tx1"/>
          </a:solidFill>
          <a:latin typeface="+mn-lt"/>
          <a:ea typeface="+mn-ea"/>
        </a:defRPr>
      </a:lvl4pPr>
      <a:lvl5pPr marL="809825" indent="-269942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◦"/>
        <a:defRPr sz="1575">
          <a:solidFill>
            <a:schemeClr val="tx1"/>
          </a:solidFill>
          <a:latin typeface="+mn-lt"/>
          <a:ea typeface="+mn-ea"/>
        </a:defRPr>
      </a:lvl5pPr>
      <a:lvl6pPr marL="0" indent="-269942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rabicPeriod"/>
        <a:defRPr sz="1575">
          <a:solidFill>
            <a:schemeClr val="tx1"/>
          </a:solidFill>
          <a:latin typeface="+mn-lt"/>
          <a:ea typeface="+mn-ea"/>
        </a:defRPr>
      </a:lvl6pPr>
      <a:lvl7pPr marL="539882" indent="-269942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alphaLcPeriod"/>
        <a:defRPr sz="1575">
          <a:solidFill>
            <a:schemeClr val="tx1"/>
          </a:solidFill>
          <a:latin typeface="+mn-lt"/>
          <a:ea typeface="+mn-ea"/>
        </a:defRPr>
      </a:lvl7pPr>
      <a:lvl8pPr marL="809825" indent="-269942" algn="l" rtl="0" eaLnBrk="1" fontAlgn="base" hangingPunct="1">
        <a:spcBef>
          <a:spcPct val="0"/>
        </a:spcBef>
        <a:spcAft>
          <a:spcPts val="1200"/>
        </a:spcAft>
        <a:buClr>
          <a:schemeClr val="accent1"/>
        </a:buClr>
        <a:buFont typeface="+mj-lt"/>
        <a:buAutoNum type="romanLcPeriod"/>
        <a:defRPr sz="1575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200"/>
        </a:spcAft>
        <a:buClr>
          <a:schemeClr val="tx1"/>
        </a:buClr>
        <a:buFontTx/>
        <a:buNone/>
        <a:defRPr sz="24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tx1"/>
          </a:solidFill>
          <a:latin typeface="+mn-lt"/>
          <a:ea typeface="+mn-ea"/>
        </a:defRPr>
      </a:lvl2pPr>
      <a:lvl3pPr marL="179960" indent="-17996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</a:defRPr>
      </a:lvl3pPr>
      <a:lvl4pPr marL="359922" indent="-17996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-"/>
        <a:defRPr sz="1200">
          <a:solidFill>
            <a:schemeClr val="tx1"/>
          </a:solidFill>
          <a:latin typeface="+mn-lt"/>
          <a:ea typeface="+mn-ea"/>
        </a:defRPr>
      </a:lvl4pPr>
      <a:lvl5pPr marL="539882" indent="-17996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◦"/>
        <a:defRPr sz="1200">
          <a:solidFill>
            <a:schemeClr val="tx1"/>
          </a:solidFill>
          <a:latin typeface="+mn-lt"/>
          <a:ea typeface="+mn-ea"/>
        </a:defRPr>
      </a:lvl5pPr>
      <a:lvl6pPr marL="179960" indent="-17996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rabicPeriod"/>
        <a:defRPr sz="1200">
          <a:solidFill>
            <a:schemeClr val="tx1"/>
          </a:solidFill>
          <a:latin typeface="+mn-lt"/>
          <a:ea typeface="+mn-ea"/>
        </a:defRPr>
      </a:lvl6pPr>
      <a:lvl7pPr marL="359922" indent="-17996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alphaLcPeriod"/>
        <a:defRPr sz="1200">
          <a:solidFill>
            <a:schemeClr val="tx1"/>
          </a:solidFill>
          <a:latin typeface="+mn-lt"/>
          <a:ea typeface="+mn-ea"/>
        </a:defRPr>
      </a:lvl7pPr>
      <a:lvl8pPr marL="539882" indent="-179960" algn="l" rtl="0" eaLnBrk="1" fontAlgn="base" hangingPunct="1">
        <a:spcBef>
          <a:spcPct val="0"/>
        </a:spcBef>
        <a:spcAft>
          <a:spcPts val="600"/>
        </a:spcAft>
        <a:buClr>
          <a:schemeClr val="accent1"/>
        </a:buClr>
        <a:buFont typeface="+mj-lt"/>
        <a:buAutoNum type="romanLcPeriod"/>
        <a:defRPr sz="12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FontTx/>
        <a:buNone/>
        <a:defRPr sz="12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2767">
          <p15:clr>
            <a:srgbClr val="F26B43"/>
          </p15:clr>
        </p15:guide>
        <p15:guide id="4" pos="5556">
          <p15:clr>
            <a:srgbClr val="F26B43"/>
          </p15:clr>
        </p15:guide>
        <p15:guide id="6" orient="horz" pos="2845">
          <p15:clr>
            <a:srgbClr val="F26B43"/>
          </p15:clr>
        </p15:guide>
        <p15:guide id="8" pos="204">
          <p15:clr>
            <a:srgbClr val="F26B43"/>
          </p15:clr>
        </p15:guide>
        <p15:guide id="13" pos="2993">
          <p15:clr>
            <a:srgbClr val="F26B43"/>
          </p15:clr>
        </p15:guide>
        <p15:guide id="14" orient="horz" pos="350">
          <p15:clr>
            <a:srgbClr val="F26B43"/>
          </p15:clr>
        </p15:guide>
        <p15:guide id="15" orient="horz" pos="667">
          <p15:clr>
            <a:srgbClr val="F26B43"/>
          </p15:clr>
        </p15:guide>
        <p15:guide id="16" pos="2064">
          <p15:clr>
            <a:srgbClr val="F26B43"/>
          </p15:clr>
        </p15:guide>
        <p15:guide id="17" pos="3923">
          <p15:clr>
            <a:srgbClr val="F26B43"/>
          </p15:clr>
        </p15:guide>
        <p15:guide id="18" pos="3696">
          <p15:clr>
            <a:srgbClr val="F26B43"/>
          </p15:clr>
        </p15:guide>
        <p15:guide id="19" pos="183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9.png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AD641C6-E135-4EFA-81C1-591756782EA1}"/>
              </a:ext>
            </a:extLst>
          </p:cNvPr>
          <p:cNvSpPr txBox="1"/>
          <p:nvPr/>
        </p:nvSpPr>
        <p:spPr>
          <a:xfrm>
            <a:off x="266700" y="514350"/>
            <a:ext cx="8610600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2D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“District-style” as opposed to “Individual-Building-style”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2598394-0E98-4324-9C7B-F6D5B0D8C978}"/>
              </a:ext>
            </a:extLst>
          </p:cNvPr>
          <p:cNvGrpSpPr>
            <a:grpSpLocks noChangeAspect="1"/>
          </p:cNvGrpSpPr>
          <p:nvPr/>
        </p:nvGrpSpPr>
        <p:grpSpPr>
          <a:xfrm>
            <a:off x="609600" y="1581150"/>
            <a:ext cx="3581400" cy="2646402"/>
            <a:chOff x="609600" y="1581150"/>
            <a:chExt cx="3581400" cy="2646402"/>
          </a:xfrm>
        </p:grpSpPr>
        <p:sp>
          <p:nvSpPr>
            <p:cNvPr id="63" name="Rectangle 62"/>
            <p:cNvSpPr/>
            <p:nvPr/>
          </p:nvSpPr>
          <p:spPr>
            <a:xfrm>
              <a:off x="617532" y="3858220"/>
              <a:ext cx="3192468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rgbClr val="002D7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trict-style</a:t>
              </a: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DF9C046B-CC86-45B2-8BF0-2EBAC3A00F9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8788" t="29259" r="7643" b="15926"/>
            <a:stretch/>
          </p:blipFill>
          <p:spPr>
            <a:xfrm>
              <a:off x="609600" y="1581150"/>
              <a:ext cx="3581400" cy="1815230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E8650CF0-0C85-47F4-B5B6-3625E266AB24}"/>
              </a:ext>
            </a:extLst>
          </p:cNvPr>
          <p:cNvGrpSpPr>
            <a:grpSpLocks noChangeAspect="1"/>
          </p:cNvGrpSpPr>
          <p:nvPr/>
        </p:nvGrpSpPr>
        <p:grpSpPr>
          <a:xfrm>
            <a:off x="4867376" y="1581150"/>
            <a:ext cx="3590824" cy="2649377"/>
            <a:chOff x="4867376" y="1581150"/>
            <a:chExt cx="3590824" cy="2649377"/>
          </a:xfrm>
        </p:grpSpPr>
        <p:sp>
          <p:nvSpPr>
            <p:cNvPr id="62" name="Rectangle 61"/>
            <p:cNvSpPr/>
            <p:nvPr/>
          </p:nvSpPr>
          <p:spPr>
            <a:xfrm>
              <a:off x="4867376" y="3861195"/>
              <a:ext cx="286488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rgbClr val="002D7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ividual-Building-style</a:t>
              </a:r>
              <a:endParaRPr lang="en-US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E28D52E-4604-4AE3-8381-C77E6DDCDE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9932" t="29259" r="7763" b="15926"/>
            <a:stretch/>
          </p:blipFill>
          <p:spPr>
            <a:xfrm>
              <a:off x="4930967" y="1581150"/>
              <a:ext cx="3527233" cy="18152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63688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AD641C6-E135-4EFA-81C1-591756782EA1}"/>
              </a:ext>
            </a:extLst>
          </p:cNvPr>
          <p:cNvSpPr txBox="1"/>
          <p:nvPr/>
        </p:nvSpPr>
        <p:spPr>
          <a:xfrm>
            <a:off x="266700" y="514350"/>
            <a:ext cx="8610600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2D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“District-style” as opposed to “Individual-Building-style”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E84B3B3-FC9D-456D-9013-1FC060A46505}"/>
              </a:ext>
            </a:extLst>
          </p:cNvPr>
          <p:cNvGrpSpPr>
            <a:grpSpLocks noChangeAspect="1"/>
          </p:cNvGrpSpPr>
          <p:nvPr/>
        </p:nvGrpSpPr>
        <p:grpSpPr>
          <a:xfrm>
            <a:off x="609600" y="1581150"/>
            <a:ext cx="3581400" cy="3200400"/>
            <a:chOff x="609600" y="1581150"/>
            <a:chExt cx="3581400" cy="3200400"/>
          </a:xfrm>
        </p:grpSpPr>
        <p:sp>
          <p:nvSpPr>
            <p:cNvPr id="63" name="Rectangle 62"/>
            <p:cNvSpPr/>
            <p:nvPr/>
          </p:nvSpPr>
          <p:spPr>
            <a:xfrm>
              <a:off x="617532" y="3858220"/>
              <a:ext cx="3192468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rgbClr val="002D7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trict-style</a:t>
              </a:r>
            </a:p>
            <a:p>
              <a:r>
                <a:rPr lang="en-US" b="1" i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hy Incur Costs for the Extra Connector Pipes?</a:t>
              </a:r>
              <a:endParaRPr lang="en-US" i="1" dirty="0">
                <a:solidFill>
                  <a:srgbClr val="FF0000"/>
                </a:solidFill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E59FC94-B5E5-40B5-933B-E06C6C993B2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09600" y="1581150"/>
              <a:ext cx="3581400" cy="1815230"/>
              <a:chOff x="423066" y="1581150"/>
              <a:chExt cx="3581400" cy="1815230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DF9C046B-CC86-45B2-8BF0-2EBAC3A00F9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l="8788" t="29259" r="7643" b="15926"/>
              <a:stretch/>
            </p:blipFill>
            <p:spPr>
              <a:xfrm>
                <a:off x="423066" y="1581150"/>
                <a:ext cx="3581400" cy="1815230"/>
              </a:xfrm>
              <a:prstGeom prst="rect">
                <a:avLst/>
              </a:prstGeom>
            </p:spPr>
          </p:pic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E5A2ACAA-EC2A-4073-B33B-EF760FFA095C}"/>
                  </a:ext>
                </a:extLst>
              </p:cNvPr>
              <p:cNvSpPr/>
              <p:nvPr/>
            </p:nvSpPr>
            <p:spPr>
              <a:xfrm>
                <a:off x="639655" y="2488765"/>
                <a:ext cx="906468" cy="381000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4326D18D-BD3A-4F6C-B094-726EF8B9C83F}"/>
                  </a:ext>
                </a:extLst>
              </p:cNvPr>
              <p:cNvSpPr/>
              <p:nvPr/>
            </p:nvSpPr>
            <p:spPr>
              <a:xfrm>
                <a:off x="1760532" y="2488765"/>
                <a:ext cx="1287468" cy="381000"/>
              </a:xfrm>
              <a:prstGeom prst="ellipse">
                <a:avLst/>
              </a:prstGeom>
              <a:noFill/>
              <a:ln>
                <a:solidFill>
                  <a:srgbClr val="FF0000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7CAC20E6-5658-4D48-875C-A9A2521225E1}"/>
              </a:ext>
            </a:extLst>
          </p:cNvPr>
          <p:cNvGrpSpPr>
            <a:grpSpLocks noChangeAspect="1"/>
          </p:cNvGrpSpPr>
          <p:nvPr/>
        </p:nvGrpSpPr>
        <p:grpSpPr>
          <a:xfrm>
            <a:off x="4867376" y="1581150"/>
            <a:ext cx="3590824" cy="2649377"/>
            <a:chOff x="4867376" y="1581150"/>
            <a:chExt cx="3590824" cy="2649377"/>
          </a:xfrm>
        </p:grpSpPr>
        <p:sp>
          <p:nvSpPr>
            <p:cNvPr id="62" name="Rectangle 61"/>
            <p:cNvSpPr/>
            <p:nvPr/>
          </p:nvSpPr>
          <p:spPr>
            <a:xfrm>
              <a:off x="4867376" y="3861195"/>
              <a:ext cx="286488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>
                  <a:solidFill>
                    <a:srgbClr val="002D73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ividual-Building-style</a:t>
              </a:r>
              <a:endParaRPr lang="en-US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E28D52E-4604-4AE3-8381-C77E6DDCDE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9932" t="29259" r="7763" b="15926"/>
            <a:stretch/>
          </p:blipFill>
          <p:spPr>
            <a:xfrm>
              <a:off x="4930967" y="1581150"/>
              <a:ext cx="3527233" cy="18152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458021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AD641C6-E135-4EFA-81C1-591756782EA1}"/>
              </a:ext>
            </a:extLst>
          </p:cNvPr>
          <p:cNvSpPr txBox="1"/>
          <p:nvPr/>
        </p:nvSpPr>
        <p:spPr>
          <a:xfrm>
            <a:off x="266700" y="514350"/>
            <a:ext cx="8610600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2D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“District-style” as opposed to “Individual-Building-style”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574D6F4-09C6-4BB6-8E91-604C2A5F5C3B}"/>
              </a:ext>
            </a:extLst>
          </p:cNvPr>
          <p:cNvGrpSpPr>
            <a:grpSpLocks noChangeAspect="1"/>
          </p:cNvGrpSpPr>
          <p:nvPr/>
        </p:nvGrpSpPr>
        <p:grpSpPr>
          <a:xfrm>
            <a:off x="304800" y="1123950"/>
            <a:ext cx="8077200" cy="3129648"/>
            <a:chOff x="304800" y="1123950"/>
            <a:chExt cx="8077200" cy="312964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E7DF7BB3-3F5B-4412-B959-EAE014324608}"/>
                </a:ext>
              </a:extLst>
            </p:cNvPr>
            <p:cNvSpPr txBox="1"/>
            <p:nvPr/>
          </p:nvSpPr>
          <p:spPr>
            <a:xfrm>
              <a:off x="304800" y="1123950"/>
              <a:ext cx="8077200" cy="37555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indent="-457200">
                <a:lnSpc>
                  <a:spcPct val="150000"/>
                </a:lnSpc>
              </a:pPr>
              <a:r>
                <a:rPr lang="en-US" sz="14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MITATION OF AVAILABLE FOOTPRINT SPACE</a:t>
              </a:r>
              <a:endParaRPr lang="en-US" sz="1400" b="1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7DAF11C-AB87-4127-ACCD-4201FCD1159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148" t="29153" r="10953" b="18889"/>
            <a:stretch/>
          </p:blipFill>
          <p:spPr>
            <a:xfrm>
              <a:off x="381000" y="1581150"/>
              <a:ext cx="7887626" cy="26724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07024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AD641C6-E135-4EFA-81C1-591756782EA1}"/>
              </a:ext>
            </a:extLst>
          </p:cNvPr>
          <p:cNvSpPr txBox="1"/>
          <p:nvPr/>
        </p:nvSpPr>
        <p:spPr>
          <a:xfrm>
            <a:off x="266700" y="514350"/>
            <a:ext cx="8610600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2D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“District-style” as opposed to “Individual-Building-style”</a:t>
            </a:r>
          </a:p>
        </p:txBody>
      </p:sp>
      <p:grpSp>
        <p:nvGrpSpPr>
          <p:cNvPr id="68" name="Group 67"/>
          <p:cNvGrpSpPr>
            <a:grpSpLocks noChangeAspect="1"/>
          </p:cNvGrpSpPr>
          <p:nvPr/>
        </p:nvGrpSpPr>
        <p:grpSpPr>
          <a:xfrm>
            <a:off x="4419600" y="939723"/>
            <a:ext cx="4628687" cy="4114801"/>
            <a:chOff x="4419600" y="939723"/>
            <a:chExt cx="4628687" cy="4114801"/>
          </a:xfrm>
        </p:grpSpPr>
        <p:graphicFrame>
          <p:nvGraphicFramePr>
            <p:cNvPr id="44" name="Chart 4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881930018"/>
                </p:ext>
              </p:extLst>
            </p:nvPr>
          </p:nvGraphicFramePr>
          <p:xfrm>
            <a:off x="4533900" y="939723"/>
            <a:ext cx="2693877" cy="72771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45" name="Chart 4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917036581"/>
                </p:ext>
              </p:extLst>
            </p:nvPr>
          </p:nvGraphicFramePr>
          <p:xfrm>
            <a:off x="4480521" y="1834685"/>
            <a:ext cx="2747256" cy="138659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46" name="Chart 4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71491220"/>
                </p:ext>
              </p:extLst>
            </p:nvPr>
          </p:nvGraphicFramePr>
          <p:xfrm>
            <a:off x="4419600" y="3398242"/>
            <a:ext cx="2895600" cy="165628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47" name="Oval 46"/>
            <p:cNvSpPr/>
            <p:nvPr/>
          </p:nvSpPr>
          <p:spPr>
            <a:xfrm>
              <a:off x="6583680" y="1003590"/>
              <a:ext cx="228600" cy="22860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/>
            <p:cNvSpPr/>
            <p:nvPr/>
          </p:nvSpPr>
          <p:spPr>
            <a:xfrm>
              <a:off x="5867400" y="2266950"/>
              <a:ext cx="228600" cy="22860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/>
            <p:cNvSpPr/>
            <p:nvPr/>
          </p:nvSpPr>
          <p:spPr>
            <a:xfrm>
              <a:off x="5888736" y="3943350"/>
              <a:ext cx="228600" cy="228600"/>
            </a:xfrm>
            <a:prstGeom prst="ellipse">
              <a:avLst/>
            </a:pr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1" name="Straight Connector 50"/>
            <p:cNvCxnSpPr>
              <a:stCxn id="47" idx="6"/>
              <a:endCxn id="56" idx="1"/>
            </p:cNvCxnSpPr>
            <p:nvPr/>
          </p:nvCxnSpPr>
          <p:spPr>
            <a:xfrm>
              <a:off x="6812280" y="1117890"/>
              <a:ext cx="1174498" cy="771479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>
              <a:stCxn id="48" idx="6"/>
              <a:endCxn id="56" idx="1"/>
            </p:cNvCxnSpPr>
            <p:nvPr/>
          </p:nvCxnSpPr>
          <p:spPr>
            <a:xfrm flipV="1">
              <a:off x="6096000" y="1889369"/>
              <a:ext cx="1890778" cy="491881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stCxn id="49" idx="6"/>
              <a:endCxn id="57" idx="1"/>
            </p:cNvCxnSpPr>
            <p:nvPr/>
          </p:nvCxnSpPr>
          <p:spPr>
            <a:xfrm flipV="1">
              <a:off x="6117336" y="3867150"/>
              <a:ext cx="1890195" cy="19050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Box 55"/>
            <p:cNvSpPr txBox="1"/>
            <p:nvPr/>
          </p:nvSpPr>
          <p:spPr>
            <a:xfrm>
              <a:off x="7986778" y="1420009"/>
              <a:ext cx="1061509" cy="9387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parately:</a:t>
              </a:r>
            </a:p>
            <a:p>
              <a:r>
                <a:rPr lang="en-US" sz="11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x 4, and</a:t>
              </a:r>
            </a:p>
            <a:p>
              <a:r>
                <a:rPr lang="en-US" sz="11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x 7, equals</a:t>
              </a:r>
            </a:p>
            <a:p>
              <a:r>
                <a:rPr lang="en-US" sz="11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frastructure</a:t>
              </a:r>
            </a:p>
            <a:p>
              <a:r>
                <a:rPr lang="en-US" sz="11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ed of 11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8007531" y="3397790"/>
              <a:ext cx="1011815" cy="9387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ggregated:</a:t>
              </a:r>
            </a:p>
            <a:p>
              <a:r>
                <a:rPr lang="en-US" sz="11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aring</a:t>
              </a:r>
            </a:p>
            <a:p>
              <a:r>
                <a:rPr lang="en-US" sz="11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duces To</a:t>
              </a:r>
            </a:p>
            <a:p>
              <a:r>
                <a:rPr lang="en-US" sz="11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frastructure</a:t>
              </a:r>
            </a:p>
            <a:p>
              <a:r>
                <a:rPr lang="en-US" sz="1100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ed of 8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0FFAD5B-7FE9-4D30-A73D-4811DDF430F0}"/>
              </a:ext>
            </a:extLst>
          </p:cNvPr>
          <p:cNvGrpSpPr>
            <a:grpSpLocks noChangeAspect="1"/>
          </p:cNvGrpSpPr>
          <p:nvPr/>
        </p:nvGrpSpPr>
        <p:grpSpPr>
          <a:xfrm>
            <a:off x="304800" y="1123950"/>
            <a:ext cx="4058082" cy="2438400"/>
            <a:chOff x="304800" y="1123950"/>
            <a:chExt cx="4058082" cy="243840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E7DF7BB3-3F5B-4412-B959-EAE014324608}"/>
                </a:ext>
              </a:extLst>
            </p:cNvPr>
            <p:cNvSpPr txBox="1"/>
            <p:nvPr/>
          </p:nvSpPr>
          <p:spPr>
            <a:xfrm>
              <a:off x="304800" y="1123950"/>
              <a:ext cx="3949322" cy="37555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indent="-457200">
                <a:lnSpc>
                  <a:spcPct val="150000"/>
                </a:lnSpc>
              </a:pPr>
              <a:r>
                <a:rPr lang="en-US" sz="14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AD FLATTENING enables downsizing</a:t>
              </a:r>
              <a:endParaRPr lang="en-US" sz="1400" b="1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8A5BDD6-E9EF-41CE-B57F-8FC7002E61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10101" t="29259" r="7643" b="18270"/>
            <a:stretch/>
          </p:blipFill>
          <p:spPr>
            <a:xfrm>
              <a:off x="413560" y="1615648"/>
              <a:ext cx="3949322" cy="194670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82695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AD641C6-E135-4EFA-81C1-591756782EA1}"/>
              </a:ext>
            </a:extLst>
          </p:cNvPr>
          <p:cNvSpPr txBox="1"/>
          <p:nvPr/>
        </p:nvSpPr>
        <p:spPr>
          <a:xfrm>
            <a:off x="266700" y="514350"/>
            <a:ext cx="8610600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200" b="1" dirty="0">
                <a:solidFill>
                  <a:srgbClr val="002D7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“District-style” as opposed to “Individual-Building-style”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E3D439A-3D24-47DE-9F9A-7C9A0CC93A96}"/>
              </a:ext>
            </a:extLst>
          </p:cNvPr>
          <p:cNvGrpSpPr>
            <a:grpSpLocks noChangeAspect="1"/>
          </p:cNvGrpSpPr>
          <p:nvPr/>
        </p:nvGrpSpPr>
        <p:grpSpPr>
          <a:xfrm>
            <a:off x="304800" y="1123950"/>
            <a:ext cx="8610600" cy="3124200"/>
            <a:chOff x="304800" y="1123950"/>
            <a:chExt cx="8610600" cy="312420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E7DF7BB3-3F5B-4412-B959-EAE014324608}"/>
                </a:ext>
              </a:extLst>
            </p:cNvPr>
            <p:cNvSpPr txBox="1"/>
            <p:nvPr/>
          </p:nvSpPr>
          <p:spPr>
            <a:xfrm>
              <a:off x="304800" y="1123950"/>
              <a:ext cx="8458200" cy="37555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indent="-457200">
                <a:lnSpc>
                  <a:spcPct val="150000"/>
                </a:lnSpc>
              </a:pPr>
              <a:r>
                <a:rPr lang="en-US" sz="14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CESS TO OPPORTUNISTIC RESOURCES such as wastewater and/or surface water body</a:t>
              </a:r>
              <a:endParaRPr lang="en-US" sz="1400" b="1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E68752A-319D-4039-9885-2F18B68181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2568" t="30741" r="3828" b="18889"/>
            <a:stretch/>
          </p:blipFill>
          <p:spPr>
            <a:xfrm>
              <a:off x="419100" y="1657350"/>
              <a:ext cx="8496300" cy="2590800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7DF7BB3-3F5B-4412-B959-EAE014324608}"/>
                </a:ext>
              </a:extLst>
            </p:cNvPr>
            <p:cNvSpPr txBox="1"/>
            <p:nvPr/>
          </p:nvSpPr>
          <p:spPr>
            <a:xfrm>
              <a:off x="6324600" y="2343150"/>
              <a:ext cx="1788848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indent="-457200">
                <a:lnSpc>
                  <a:spcPct val="150000"/>
                </a:lnSpc>
              </a:pPr>
              <a:r>
                <a:rPr lang="en-US" sz="1400" b="1" dirty="0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TW Outfall Pipe</a:t>
              </a:r>
              <a:endParaRPr lang="en-US" sz="1400" b="1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05825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OTeF_.cjwbVxmOMf_a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OTeF_.cjwbVxmOMf_aYg"/>
</p:tagLst>
</file>

<file path=ppt/theme/theme1.xml><?xml version="1.0" encoding="utf-8"?>
<a:theme xmlns:a="http://schemas.openxmlformats.org/drawingml/2006/main" name="Cover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ection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US PPT 2018 4x3">
  <a:themeElements>
    <a:clrScheme name="Custom 6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9E405E24-4D8F-45E9-B7C1-DE8CFE413F7C}" vid="{32376E27-65FC-4E1F-8C9A-962F9B38E9F9}"/>
    </a:ext>
  </a:extLst>
</a:theme>
</file>

<file path=ppt/theme/theme5.xml><?xml version="1.0" encoding="utf-8"?>
<a:theme xmlns:a="http://schemas.openxmlformats.org/drawingml/2006/main" name="1_US NG 2018 PPT Tempal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96D7EB"/>
      </a:hlink>
      <a:folHlink>
        <a:srgbClr val="96D7EB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7" id="{4E6C00DE-FF98-44AE-8DB1-57274A17676F}" vid="{9B0F6CF3-034B-4C4F-B75C-2E62C55E3B97}"/>
    </a:ext>
  </a:extLst>
</a:theme>
</file>

<file path=ppt/theme/theme6.xml><?xml version="1.0" encoding="utf-8"?>
<a:theme xmlns:a="http://schemas.openxmlformats.org/drawingml/2006/main" name="US PPT 2018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F23320CD-16AA-4AB1-9E80-9E49EBDE654E}" vid="{B2A63B16-134F-4AAF-AD68-13824AEA96BD}"/>
    </a:ext>
  </a:extLst>
</a:theme>
</file>

<file path=ppt/theme/theme7.xml><?xml version="1.0" encoding="utf-8"?>
<a:theme xmlns:a="http://schemas.openxmlformats.org/drawingml/2006/main" name="1_US PPT 2018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F23320CD-16AA-4AB1-9E80-9E49EBDE654E}" vid="{B2A63B16-134F-4AAF-AD68-13824AEA96BD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ubCategory xmlns="a41925d7-6666-40fe-98b0-0e624a738239" xsi:nil="true"/>
    <Category xmlns="a41925d7-6666-40fe-98b0-0e624a738239">Marketing Templates</Category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5C8BE364F35254ABCDA2CE23EE59FA1" ma:contentTypeVersion="3" ma:contentTypeDescription="Create a new document." ma:contentTypeScope="" ma:versionID="95d6fdd541c541d38cedad4f6d23f1de">
  <xsd:schema xmlns:xsd="http://www.w3.org/2001/XMLSchema" xmlns:xs="http://www.w3.org/2001/XMLSchema" xmlns:p="http://schemas.microsoft.com/office/2006/metadata/properties" xmlns:ns2="a41925d7-6666-40fe-98b0-0e624a738239" targetNamespace="http://schemas.microsoft.com/office/2006/metadata/properties" ma:root="true" ma:fieldsID="405f3edb059214306ad417e43bb5172d" ns2:_="">
    <xsd:import namespace="a41925d7-6666-40fe-98b0-0e624a738239"/>
    <xsd:element name="properties">
      <xsd:complexType>
        <xsd:sequence>
          <xsd:element name="documentManagement">
            <xsd:complexType>
              <xsd:all>
                <xsd:element ref="ns2:Category" minOccurs="0"/>
                <xsd:element ref="ns2:SubCategor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1925d7-6666-40fe-98b0-0e624a738239" elementFormDefault="qualified">
    <xsd:import namespace="http://schemas.microsoft.com/office/2006/documentManagement/types"/>
    <xsd:import namespace="http://schemas.microsoft.com/office/infopath/2007/PartnerControls"/>
    <xsd:element name="Category" ma:index="8" nillable="true" ma:displayName="Category" ma:format="Dropdown" ma:internalName="Category">
      <xsd:simpleType>
        <xsd:restriction base="dms:Choice">
          <xsd:enumeration value="Marketing Templates"/>
          <xsd:enumeration value="Marketing Forms"/>
          <xsd:enumeration value="Marketing Resources"/>
          <xsd:enumeration value="Blank PowerPoint Templates"/>
          <xsd:enumeration value="Pre-built PowerPoint Presentation Library"/>
          <xsd:enumeration value="Foundational Documents"/>
        </xsd:restriction>
      </xsd:simpleType>
    </xsd:element>
    <xsd:element name="SubCategory" ma:index="9" nillable="true" ma:displayName="SubCategory" ma:format="Dropdown" ma:internalName="SubCategory">
      <xsd:simpleType>
        <xsd:restriction base="dms:Choice">
          <xsd:enumeration value="Project Success Highlights"/>
          <xsd:enumeration value="Logo Release"/>
          <xsd:enumeration value="Photo Release"/>
          <xsd:enumeration value="Website"/>
          <xsd:enumeration value="Information Release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04861CA-5DD2-44F8-8780-9628548221F3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a41925d7-6666-40fe-98b0-0e624a738239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EE09270-68C1-4C64-B21D-2AA5BF5E378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C27B02-6290-450D-9BB6-10579A773D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1925d7-6666-40fe-98b0-0e624a7382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941</TotalTime>
  <Words>117</Words>
  <Application>Microsoft Office PowerPoint</Application>
  <PresentationFormat>On-screen Show (16:9)</PresentationFormat>
  <Paragraphs>27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5" baseType="lpstr">
      <vt:lpstr>Arial</vt:lpstr>
      <vt:lpstr>Calibri</vt:lpstr>
      <vt:lpstr>Cover Master</vt:lpstr>
      <vt:lpstr>Section Master</vt:lpstr>
      <vt:lpstr>2_Custom Design</vt:lpstr>
      <vt:lpstr>US PPT 2018 4x3</vt:lpstr>
      <vt:lpstr>1_US NG 2018 PPT Tempalte 16x9</vt:lpstr>
      <vt:lpstr>US PPT 2018 16x9</vt:lpstr>
      <vt:lpstr>1_US PPT 2018 16x9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New York State - Office of General Servic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YSERDA - White Background</dc:title>
  <dc:creator>Warner, Jennifer</dc:creator>
  <cp:lastModifiedBy>Levy, Dana L (NYSERDA)</cp:lastModifiedBy>
  <cp:revision>695</cp:revision>
  <dcterms:created xsi:type="dcterms:W3CDTF">2014-12-09T18:34:34Z</dcterms:created>
  <dcterms:modified xsi:type="dcterms:W3CDTF">2021-07-28T19:42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5C8BE364F35254ABCDA2CE23EE59FA1</vt:lpwstr>
  </property>
</Properties>
</file>